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3" r:id="rId4"/>
    <p:sldMasterId id="2147483666" r:id="rId5"/>
  </p:sldMasterIdLst>
  <p:notesMasterIdLst>
    <p:notesMasterId r:id="rId37"/>
  </p:notesMasterIdLst>
  <p:handoutMasterIdLst>
    <p:handoutMasterId r:id="rId38"/>
  </p:handoutMasterIdLst>
  <p:sldIdLst>
    <p:sldId id="483" r:id="rId6"/>
    <p:sldId id="1429" r:id="rId7"/>
    <p:sldId id="1571" r:id="rId8"/>
    <p:sldId id="1492" r:id="rId9"/>
    <p:sldId id="4043" r:id="rId10"/>
    <p:sldId id="1265" r:id="rId11"/>
    <p:sldId id="1565" r:id="rId12"/>
    <p:sldId id="1529" r:id="rId13"/>
    <p:sldId id="1099" r:id="rId14"/>
    <p:sldId id="1169" r:id="rId15"/>
    <p:sldId id="1170" r:id="rId16"/>
    <p:sldId id="1171" r:id="rId17"/>
    <p:sldId id="1172" r:id="rId18"/>
    <p:sldId id="1173" r:id="rId19"/>
    <p:sldId id="1175" r:id="rId20"/>
    <p:sldId id="1174" r:id="rId21"/>
    <p:sldId id="1477" r:id="rId22"/>
    <p:sldId id="4044" r:id="rId23"/>
    <p:sldId id="1530" r:id="rId24"/>
    <p:sldId id="1532" r:id="rId25"/>
    <p:sldId id="1573" r:id="rId26"/>
    <p:sldId id="1534" r:id="rId27"/>
    <p:sldId id="1568" r:id="rId28"/>
    <p:sldId id="1533" r:id="rId29"/>
    <p:sldId id="1535" r:id="rId30"/>
    <p:sldId id="1536" r:id="rId31"/>
    <p:sldId id="1537" r:id="rId32"/>
    <p:sldId id="1538" r:id="rId33"/>
    <p:sldId id="1539" r:id="rId34"/>
    <p:sldId id="1572" r:id="rId35"/>
    <p:sldId id="1439" r:id="rId36"/>
  </p:sldIdLst>
  <p:sldSz cx="9144000" cy="6858000" type="screen4x3"/>
  <p:notesSz cx="7010400" cy="92964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ow, Yvonne (HPC)" initials="YC" lastIdx="2" clrIdx="0"/>
  <p:cmAuthor id="1" name="user" initials="u" lastIdx="2" clrIdx="1"/>
  <p:cmAuthor id="2" name="Michael Bailit" initials="MB" lastIdx="451" clrIdx="2"/>
  <p:cmAuthor id="3" name="Cristi Carman" initials="CC" lastIdx="0" clrIdx="3"/>
  <p:cmAuthor id="4" name="Deepti Kanneganti" initials="DK" lastIdx="316" clrIdx="4"/>
  <p:cmAuthor id="5" name="Deepti Kanneganti" initials="DK [2]" lastIdx="1" clrIdx="5"/>
  <p:cmAuthor id="6" name="Vivian Haime" initials="VH" lastIdx="1" clrIdx="6"/>
  <p:cmAuthor id="7" name="KSB" initials="KSB" lastIdx="5" clrIdx="7"/>
  <p:cmAuthor id="8" name="lshaughnessy" initials="ls" lastIdx="3" clrIdx="8"/>
  <p:cmAuthor id="9" name="Justine Zayhowski" initials="JZ" lastIdx="55" clrIdx="9"/>
  <p:cmAuthor id="10" name="Ahlgren, Lisa" initials="AL" lastIdx="1" clrIdx="10">
    <p:extLst>
      <p:ext uri="{19B8F6BF-5375-455C-9EA6-DF929625EA0E}">
        <p15:presenceInfo xmlns:p15="http://schemas.microsoft.com/office/powerpoint/2012/main" userId="S-1-5-21-320818509-2549926932-657949529-5936" providerId="AD"/>
      </p:ext>
    </p:extLst>
  </p:cmAuthor>
  <p:cmAuthor id="11" name="Michael" initials="M" lastIdx="10" clrIdx="11">
    <p:extLst>
      <p:ext uri="{19B8F6BF-5375-455C-9EA6-DF929625EA0E}">
        <p15:presenceInfo xmlns:p15="http://schemas.microsoft.com/office/powerpoint/2012/main" userId="S::mbailit@bailit-health.com::6e5c4604-85bf-41ef-8e97-4724b7d56589" providerId="AD"/>
      </p:ext>
    </p:extLst>
  </p:cmAuthor>
  <p:cmAuthor id="12" name="Erin Taylor" initials="ET" lastIdx="1" clrIdx="12">
    <p:extLst>
      <p:ext uri="{19B8F6BF-5375-455C-9EA6-DF929625EA0E}">
        <p15:presenceInfo xmlns:p15="http://schemas.microsoft.com/office/powerpoint/2012/main" userId="S::ETaylor@bailit-health.com::c09af165-50a0-4a78-8b32-79b157be4bff" providerId="AD"/>
      </p:ext>
    </p:extLst>
  </p:cmAuthor>
  <p:cmAuthor id="13" name="Stacey Yi" initials="SY" lastIdx="7" clrIdx="13">
    <p:extLst>
      <p:ext uri="{19B8F6BF-5375-455C-9EA6-DF929625EA0E}">
        <p15:presenceInfo xmlns:p15="http://schemas.microsoft.com/office/powerpoint/2012/main" userId="S::syi@bailit-health.com::736affbd-34d5-4375-befe-882681e433d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9791"/>
    <a:srgbClr val="F4CFCC"/>
    <a:srgbClr val="70AD47"/>
    <a:srgbClr val="FFFF00"/>
    <a:srgbClr val="FFC000"/>
    <a:srgbClr val="023467"/>
    <a:srgbClr val="003399"/>
    <a:srgbClr val="013366"/>
    <a:srgbClr val="ED7D31"/>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AA9292-A805-421F-B7FE-06835B8484B6}" v="2" dt="2021-01-19T17:54:14.0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9" d="100"/>
          <a:sy n="69" d="100"/>
        </p:scale>
        <p:origin x="576" y="48"/>
      </p:cViewPr>
      <p:guideLst>
        <p:guide orient="horz" pos="2160"/>
        <p:guide pos="2880"/>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Bailit" userId="6e5c4604-85bf-41ef-8e97-4724b7d56589" providerId="ADAL" clId="{83774557-9449-4090-8E14-8380B2278611}"/>
    <pc:docChg chg="undo redo custSel addSld delSld modSld">
      <pc:chgData name="Michael Bailit" userId="6e5c4604-85bf-41ef-8e97-4724b7d56589" providerId="ADAL" clId="{83774557-9449-4090-8E14-8380B2278611}" dt="2021-01-19T13:44:40.983" v="3292" actId="255"/>
      <pc:docMkLst>
        <pc:docMk/>
      </pc:docMkLst>
      <pc:sldChg chg="modSp mod">
        <pc:chgData name="Michael Bailit" userId="6e5c4604-85bf-41ef-8e97-4724b7d56589" providerId="ADAL" clId="{83774557-9449-4090-8E14-8380B2278611}" dt="2021-01-19T13:41:47.021" v="3211" actId="255"/>
        <pc:sldMkLst>
          <pc:docMk/>
          <pc:sldMk cId="2568901442" sldId="1099"/>
        </pc:sldMkLst>
        <pc:spChg chg="mod">
          <ac:chgData name="Michael Bailit" userId="6e5c4604-85bf-41ef-8e97-4724b7d56589" providerId="ADAL" clId="{83774557-9449-4090-8E14-8380B2278611}" dt="2021-01-19T13:41:47.021" v="3211" actId="255"/>
          <ac:spMkLst>
            <pc:docMk/>
            <pc:sldMk cId="2568901442" sldId="1099"/>
            <ac:spMk id="3" creationId="{1BB73685-6A28-40B8-8B66-E7647876478F}"/>
          </ac:spMkLst>
        </pc:spChg>
      </pc:sldChg>
      <pc:sldChg chg="modSp mod">
        <pc:chgData name="Michael Bailit" userId="6e5c4604-85bf-41ef-8e97-4724b7d56589" providerId="ADAL" clId="{83774557-9449-4090-8E14-8380B2278611}" dt="2021-01-19T13:42:01.662" v="3212" actId="255"/>
        <pc:sldMkLst>
          <pc:docMk/>
          <pc:sldMk cId="4109401992" sldId="1169"/>
        </pc:sldMkLst>
        <pc:spChg chg="mod">
          <ac:chgData name="Michael Bailit" userId="6e5c4604-85bf-41ef-8e97-4724b7d56589" providerId="ADAL" clId="{83774557-9449-4090-8E14-8380B2278611}" dt="2021-01-19T13:42:01.662" v="3212" actId="255"/>
          <ac:spMkLst>
            <pc:docMk/>
            <pc:sldMk cId="4109401992" sldId="1169"/>
            <ac:spMk id="3" creationId="{1BB73685-6A28-40B8-8B66-E7647876478F}"/>
          </ac:spMkLst>
        </pc:spChg>
      </pc:sldChg>
      <pc:sldChg chg="modSp mod">
        <pc:chgData name="Michael Bailit" userId="6e5c4604-85bf-41ef-8e97-4724b7d56589" providerId="ADAL" clId="{83774557-9449-4090-8E14-8380B2278611}" dt="2021-01-14T01:57:45.570" v="3132" actId="255"/>
        <pc:sldMkLst>
          <pc:docMk/>
          <pc:sldMk cId="161162683" sldId="1170"/>
        </pc:sldMkLst>
        <pc:spChg chg="mod">
          <ac:chgData name="Michael Bailit" userId="6e5c4604-85bf-41ef-8e97-4724b7d56589" providerId="ADAL" clId="{83774557-9449-4090-8E14-8380B2278611}" dt="2021-01-14T01:57:45.570" v="3132" actId="255"/>
          <ac:spMkLst>
            <pc:docMk/>
            <pc:sldMk cId="161162683" sldId="1170"/>
            <ac:spMk id="4" creationId="{00000000-0000-0000-0000-000000000000}"/>
          </ac:spMkLst>
        </pc:spChg>
      </pc:sldChg>
      <pc:sldChg chg="modSp mod">
        <pc:chgData name="Michael Bailit" userId="6e5c4604-85bf-41ef-8e97-4724b7d56589" providerId="ADAL" clId="{83774557-9449-4090-8E14-8380B2278611}" dt="2021-01-19T13:42:29.243" v="3223" actId="20577"/>
        <pc:sldMkLst>
          <pc:docMk/>
          <pc:sldMk cId="3642083596" sldId="1175"/>
        </pc:sldMkLst>
        <pc:spChg chg="mod">
          <ac:chgData name="Michael Bailit" userId="6e5c4604-85bf-41ef-8e97-4724b7d56589" providerId="ADAL" clId="{83774557-9449-4090-8E14-8380B2278611}" dt="2021-01-19T13:42:29.243" v="3223" actId="20577"/>
          <ac:spMkLst>
            <pc:docMk/>
            <pc:sldMk cId="3642083596" sldId="1175"/>
            <ac:spMk id="3" creationId="{00000000-0000-0000-0000-000000000000}"/>
          </ac:spMkLst>
        </pc:spChg>
      </pc:sldChg>
      <pc:sldChg chg="modSp mod addCm modCm">
        <pc:chgData name="Michael Bailit" userId="6e5c4604-85bf-41ef-8e97-4724b7d56589" providerId="ADAL" clId="{83774557-9449-4090-8E14-8380B2278611}" dt="2020-12-29T01:18:48.643" v="38"/>
        <pc:sldMkLst>
          <pc:docMk/>
          <pc:sldMk cId="3830109214" sldId="1265"/>
        </pc:sldMkLst>
        <pc:spChg chg="mod">
          <ac:chgData name="Michael Bailit" userId="6e5c4604-85bf-41ef-8e97-4724b7d56589" providerId="ADAL" clId="{83774557-9449-4090-8E14-8380B2278611}" dt="2020-12-29T01:16:11.348" v="32" actId="20577"/>
          <ac:spMkLst>
            <pc:docMk/>
            <pc:sldMk cId="3830109214" sldId="1265"/>
            <ac:spMk id="2" creationId="{5B109C13-2ACC-4015-AF58-3A819B01A2EA}"/>
          </ac:spMkLst>
        </pc:spChg>
        <pc:spChg chg="mod">
          <ac:chgData name="Michael Bailit" userId="6e5c4604-85bf-41ef-8e97-4724b7d56589" providerId="ADAL" clId="{83774557-9449-4090-8E14-8380B2278611}" dt="2020-12-29T01:17:41.017" v="37" actId="113"/>
          <ac:spMkLst>
            <pc:docMk/>
            <pc:sldMk cId="3830109214" sldId="1265"/>
            <ac:spMk id="3" creationId="{8BBE5596-3756-40D5-A8E5-AB4F6AD61112}"/>
          </ac:spMkLst>
        </pc:spChg>
      </pc:sldChg>
      <pc:sldChg chg="modSp mod">
        <pc:chgData name="Michael Bailit" userId="6e5c4604-85bf-41ef-8e97-4724b7d56589" providerId="ADAL" clId="{83774557-9449-4090-8E14-8380B2278611}" dt="2020-12-29T01:29:02.554" v="335" actId="20577"/>
        <pc:sldMkLst>
          <pc:docMk/>
          <pc:sldMk cId="3123438988" sldId="1429"/>
        </pc:sldMkLst>
        <pc:spChg chg="mod">
          <ac:chgData name="Michael Bailit" userId="6e5c4604-85bf-41ef-8e97-4724b7d56589" providerId="ADAL" clId="{83774557-9449-4090-8E14-8380B2278611}" dt="2020-12-29T01:29:02.554" v="335" actId="20577"/>
          <ac:spMkLst>
            <pc:docMk/>
            <pc:sldMk cId="3123438988" sldId="1429"/>
            <ac:spMk id="3" creationId="{8E396B14-F9D7-4ACC-AED3-6E88E76396F5}"/>
          </ac:spMkLst>
        </pc:spChg>
        <pc:spChg chg="mod">
          <ac:chgData name="Michael Bailit" userId="6e5c4604-85bf-41ef-8e97-4724b7d56589" providerId="ADAL" clId="{83774557-9449-4090-8E14-8380B2278611}" dt="2020-12-29T01:07:19.309" v="1" actId="1076"/>
          <ac:spMkLst>
            <pc:docMk/>
            <pc:sldMk cId="3123438988" sldId="1429"/>
            <ac:spMk id="5" creationId="{D3915D3D-656E-48AA-8D63-358A7E5AA453}"/>
          </ac:spMkLst>
        </pc:spChg>
      </pc:sldChg>
      <pc:sldChg chg="modSp mod">
        <pc:chgData name="Michael Bailit" userId="6e5c4604-85bf-41ef-8e97-4724b7d56589" providerId="ADAL" clId="{83774557-9449-4090-8E14-8380B2278611}" dt="2020-12-29T15:19:16.657" v="2425" actId="20577"/>
        <pc:sldMkLst>
          <pc:docMk/>
          <pc:sldMk cId="994760883" sldId="1439"/>
        </pc:sldMkLst>
        <pc:spChg chg="mod">
          <ac:chgData name="Michael Bailit" userId="6e5c4604-85bf-41ef-8e97-4724b7d56589" providerId="ADAL" clId="{83774557-9449-4090-8E14-8380B2278611}" dt="2020-12-29T15:17:07.041" v="2382" actId="20577"/>
          <ac:spMkLst>
            <pc:docMk/>
            <pc:sldMk cId="994760883" sldId="1439"/>
            <ac:spMk id="2" creationId="{3C0D77C2-F836-4F58-809A-223B58877900}"/>
          </ac:spMkLst>
        </pc:spChg>
        <pc:spChg chg="mod">
          <ac:chgData name="Michael Bailit" userId="6e5c4604-85bf-41ef-8e97-4724b7d56589" providerId="ADAL" clId="{83774557-9449-4090-8E14-8380B2278611}" dt="2020-12-29T15:19:16.657" v="2425" actId="20577"/>
          <ac:spMkLst>
            <pc:docMk/>
            <pc:sldMk cId="994760883" sldId="1439"/>
            <ac:spMk id="3" creationId="{23982B12-54F3-4BA6-BB25-2E0F88B305AC}"/>
          </ac:spMkLst>
        </pc:spChg>
      </pc:sldChg>
      <pc:sldChg chg="modSp mod">
        <pc:chgData name="Michael Bailit" userId="6e5c4604-85bf-41ef-8e97-4724b7d56589" providerId="ADAL" clId="{83774557-9449-4090-8E14-8380B2278611}" dt="2021-01-14T01:58:37.125" v="3138" actId="255"/>
        <pc:sldMkLst>
          <pc:docMk/>
          <pc:sldMk cId="3130701180" sldId="1477"/>
        </pc:sldMkLst>
        <pc:spChg chg="mod">
          <ac:chgData name="Michael Bailit" userId="6e5c4604-85bf-41ef-8e97-4724b7d56589" providerId="ADAL" clId="{83774557-9449-4090-8E14-8380B2278611}" dt="2021-01-14T01:58:37.125" v="3138" actId="255"/>
          <ac:spMkLst>
            <pc:docMk/>
            <pc:sldMk cId="3130701180" sldId="1477"/>
            <ac:spMk id="18" creationId="{A428F9C4-BF1E-574D-95B5-E32076DE1A5C}"/>
          </ac:spMkLst>
        </pc:spChg>
      </pc:sldChg>
      <pc:sldChg chg="modSp mod addCm delCm modCm">
        <pc:chgData name="Michael Bailit" userId="6e5c4604-85bf-41ef-8e97-4724b7d56589" providerId="ADAL" clId="{83774557-9449-4090-8E14-8380B2278611}" dt="2020-12-29T01:15:59.832" v="23" actId="1592"/>
        <pc:sldMkLst>
          <pc:docMk/>
          <pc:sldMk cId="690201876" sldId="1492"/>
        </pc:sldMkLst>
        <pc:graphicFrameChg chg="modGraphic">
          <ac:chgData name="Michael Bailit" userId="6e5c4604-85bf-41ef-8e97-4724b7d56589" providerId="ADAL" clId="{83774557-9449-4090-8E14-8380B2278611}" dt="2020-12-29T01:09:33.088" v="16" actId="20577"/>
          <ac:graphicFrameMkLst>
            <pc:docMk/>
            <pc:sldMk cId="690201876" sldId="1492"/>
            <ac:graphicFrameMk id="4" creationId="{2BF16781-B2A9-4BFA-A6A2-944B11AC9EC1}"/>
          </ac:graphicFrameMkLst>
        </pc:graphicFrameChg>
      </pc:sldChg>
      <pc:sldChg chg="modSp mod modAnim">
        <pc:chgData name="Michael Bailit" userId="6e5c4604-85bf-41ef-8e97-4724b7d56589" providerId="ADAL" clId="{83774557-9449-4090-8E14-8380B2278611}" dt="2021-01-19T13:41:32.640" v="3210"/>
        <pc:sldMkLst>
          <pc:docMk/>
          <pc:sldMk cId="1859471436" sldId="1529"/>
        </pc:sldMkLst>
        <pc:spChg chg="mod">
          <ac:chgData name="Michael Bailit" userId="6e5c4604-85bf-41ef-8e97-4724b7d56589" providerId="ADAL" clId="{83774557-9449-4090-8E14-8380B2278611}" dt="2020-12-29T01:28:17.586" v="291" actId="20577"/>
          <ac:spMkLst>
            <pc:docMk/>
            <pc:sldMk cId="1859471436" sldId="1529"/>
            <ac:spMk id="3" creationId="{FE24C366-1DA0-45BF-A80F-D4B7E53E9175}"/>
          </ac:spMkLst>
        </pc:spChg>
      </pc:sldChg>
      <pc:sldChg chg="modSp mod modAnim">
        <pc:chgData name="Michael Bailit" userId="6e5c4604-85bf-41ef-8e97-4724b7d56589" providerId="ADAL" clId="{83774557-9449-4090-8E14-8380B2278611}" dt="2021-01-19T13:43:36.705" v="3270" actId="20577"/>
        <pc:sldMkLst>
          <pc:docMk/>
          <pc:sldMk cId="873662123" sldId="1530"/>
        </pc:sldMkLst>
        <pc:spChg chg="mod">
          <ac:chgData name="Michael Bailit" userId="6e5c4604-85bf-41ef-8e97-4724b7d56589" providerId="ADAL" clId="{83774557-9449-4090-8E14-8380B2278611}" dt="2021-01-19T13:43:36.705" v="3270" actId="20577"/>
          <ac:spMkLst>
            <pc:docMk/>
            <pc:sldMk cId="873662123" sldId="1530"/>
            <ac:spMk id="3" creationId="{EA39D0E9-9042-4425-B694-1F433C63E49D}"/>
          </ac:spMkLst>
        </pc:spChg>
      </pc:sldChg>
      <pc:sldChg chg="modSp mod modNotesTx">
        <pc:chgData name="Michael Bailit" userId="6e5c4604-85bf-41ef-8e97-4724b7d56589" providerId="ADAL" clId="{83774557-9449-4090-8E14-8380B2278611}" dt="2021-01-19T13:44:26.181" v="3290" actId="20577"/>
        <pc:sldMkLst>
          <pc:docMk/>
          <pc:sldMk cId="548350180" sldId="1532"/>
        </pc:sldMkLst>
        <pc:spChg chg="mod">
          <ac:chgData name="Michael Bailit" userId="6e5c4604-85bf-41ef-8e97-4724b7d56589" providerId="ADAL" clId="{83774557-9449-4090-8E14-8380B2278611}" dt="2021-01-19T13:44:26.181" v="3290" actId="20577"/>
          <ac:spMkLst>
            <pc:docMk/>
            <pc:sldMk cId="548350180" sldId="1532"/>
            <ac:spMk id="3" creationId="{C1ACF851-F1A0-47BB-B553-CF914E9CC80C}"/>
          </ac:spMkLst>
        </pc:spChg>
      </pc:sldChg>
      <pc:sldChg chg="modSp mod addCm delCm modCm">
        <pc:chgData name="Michael Bailit" userId="6e5c4604-85bf-41ef-8e97-4724b7d56589" providerId="ADAL" clId="{83774557-9449-4090-8E14-8380B2278611}" dt="2021-01-14T02:01:21.483" v="3155" actId="20577"/>
        <pc:sldMkLst>
          <pc:docMk/>
          <pc:sldMk cId="1714805313" sldId="1533"/>
        </pc:sldMkLst>
        <pc:spChg chg="mod">
          <ac:chgData name="Michael Bailit" userId="6e5c4604-85bf-41ef-8e97-4724b7d56589" providerId="ADAL" clId="{83774557-9449-4090-8E14-8380B2278611}" dt="2021-01-07T01:38:30.455" v="2452" actId="20577"/>
          <ac:spMkLst>
            <pc:docMk/>
            <pc:sldMk cId="1714805313" sldId="1533"/>
            <ac:spMk id="3" creationId="{B2E79AF0-ADCC-4CB5-9293-87299CFF713B}"/>
          </ac:spMkLst>
        </pc:spChg>
        <pc:spChg chg="mod">
          <ac:chgData name="Michael Bailit" userId="6e5c4604-85bf-41ef-8e97-4724b7d56589" providerId="ADAL" clId="{83774557-9449-4090-8E14-8380B2278611}" dt="2020-12-29T13:43:24.143" v="1249" actId="255"/>
          <ac:spMkLst>
            <pc:docMk/>
            <pc:sldMk cId="1714805313" sldId="1533"/>
            <ac:spMk id="4" creationId="{D8F28188-A374-4BDC-9B7E-6A89C49F2AB7}"/>
          </ac:spMkLst>
        </pc:spChg>
        <pc:graphicFrameChg chg="modGraphic">
          <ac:chgData name="Michael Bailit" userId="6e5c4604-85bf-41ef-8e97-4724b7d56589" providerId="ADAL" clId="{83774557-9449-4090-8E14-8380B2278611}" dt="2021-01-14T02:01:21.483" v="3155" actId="20577"/>
          <ac:graphicFrameMkLst>
            <pc:docMk/>
            <pc:sldMk cId="1714805313" sldId="1533"/>
            <ac:graphicFrameMk id="6" creationId="{7C95FCEF-E981-4708-9624-6A63751EF387}"/>
          </ac:graphicFrameMkLst>
        </pc:graphicFrameChg>
      </pc:sldChg>
      <pc:sldChg chg="modSp mod">
        <pc:chgData name="Michael Bailit" userId="6e5c4604-85bf-41ef-8e97-4724b7d56589" providerId="ADAL" clId="{83774557-9449-4090-8E14-8380B2278611}" dt="2021-01-19T13:44:40.983" v="3292" actId="255"/>
        <pc:sldMkLst>
          <pc:docMk/>
          <pc:sldMk cId="89692184" sldId="1534"/>
        </pc:sldMkLst>
        <pc:spChg chg="mod">
          <ac:chgData name="Michael Bailit" userId="6e5c4604-85bf-41ef-8e97-4724b7d56589" providerId="ADAL" clId="{83774557-9449-4090-8E14-8380B2278611}" dt="2021-01-19T13:44:40.983" v="3292" actId="255"/>
          <ac:spMkLst>
            <pc:docMk/>
            <pc:sldMk cId="89692184" sldId="1534"/>
            <ac:spMk id="3" creationId="{C459E275-C164-416D-AB74-FBFD0C47C667}"/>
          </ac:spMkLst>
        </pc:spChg>
      </pc:sldChg>
      <pc:sldChg chg="modSp mod addCm modCm">
        <pc:chgData name="Michael Bailit" userId="6e5c4604-85bf-41ef-8e97-4724b7d56589" providerId="ADAL" clId="{83774557-9449-4090-8E14-8380B2278611}" dt="2020-12-29T13:41:58.063" v="1244" actId="1589"/>
        <pc:sldMkLst>
          <pc:docMk/>
          <pc:sldMk cId="320089514" sldId="1535"/>
        </pc:sldMkLst>
        <pc:spChg chg="mod">
          <ac:chgData name="Michael Bailit" userId="6e5c4604-85bf-41ef-8e97-4724b7d56589" providerId="ADAL" clId="{83774557-9449-4090-8E14-8380B2278611}" dt="2020-12-29T13:34:46.274" v="1052" actId="948"/>
          <ac:spMkLst>
            <pc:docMk/>
            <pc:sldMk cId="320089514" sldId="1535"/>
            <ac:spMk id="3" creationId="{7E370310-B488-4FF4-BF5D-E8CC64C193E7}"/>
          </ac:spMkLst>
        </pc:spChg>
        <pc:spChg chg="mod">
          <ac:chgData name="Michael Bailit" userId="6e5c4604-85bf-41ef-8e97-4724b7d56589" providerId="ADAL" clId="{83774557-9449-4090-8E14-8380B2278611}" dt="2020-12-29T02:05:17.839" v="772" actId="20577"/>
          <ac:spMkLst>
            <pc:docMk/>
            <pc:sldMk cId="320089514" sldId="1535"/>
            <ac:spMk id="6" creationId="{DD8E4332-8C64-4D23-BDA6-A379E04BA53E}"/>
          </ac:spMkLst>
        </pc:spChg>
        <pc:graphicFrameChg chg="mod">
          <ac:chgData name="Michael Bailit" userId="6e5c4604-85bf-41ef-8e97-4724b7d56589" providerId="ADAL" clId="{83774557-9449-4090-8E14-8380B2278611}" dt="2020-12-29T01:59:10.075" v="665" actId="1076"/>
          <ac:graphicFrameMkLst>
            <pc:docMk/>
            <pc:sldMk cId="320089514" sldId="1535"/>
            <ac:graphicFrameMk id="4" creationId="{616908FC-206A-45E1-A5F8-62E2204ACA15}"/>
          </ac:graphicFrameMkLst>
        </pc:graphicFrameChg>
      </pc:sldChg>
      <pc:sldChg chg="modSp mod">
        <pc:chgData name="Michael Bailit" userId="6e5c4604-85bf-41ef-8e97-4724b7d56589" providerId="ADAL" clId="{83774557-9449-4090-8E14-8380B2278611}" dt="2020-12-29T13:34:09.800" v="1039" actId="20577"/>
        <pc:sldMkLst>
          <pc:docMk/>
          <pc:sldMk cId="3696934096" sldId="1536"/>
        </pc:sldMkLst>
        <pc:spChg chg="mod">
          <ac:chgData name="Michael Bailit" userId="6e5c4604-85bf-41ef-8e97-4724b7d56589" providerId="ADAL" clId="{83774557-9449-4090-8E14-8380B2278611}" dt="2020-12-29T13:34:09.800" v="1039" actId="20577"/>
          <ac:spMkLst>
            <pc:docMk/>
            <pc:sldMk cId="3696934096" sldId="1536"/>
            <ac:spMk id="3" creationId="{2AACDFD0-0E7E-4189-A1E8-EA9F9678131A}"/>
          </ac:spMkLst>
        </pc:spChg>
        <pc:spChg chg="mod">
          <ac:chgData name="Michael Bailit" userId="6e5c4604-85bf-41ef-8e97-4724b7d56589" providerId="ADAL" clId="{83774557-9449-4090-8E14-8380B2278611}" dt="2020-12-29T02:06:02.872" v="781" actId="1076"/>
          <ac:spMkLst>
            <pc:docMk/>
            <pc:sldMk cId="3696934096" sldId="1536"/>
            <ac:spMk id="5" creationId="{FCF3B8DB-E1EF-4B57-B62C-108EB989878D}"/>
          </ac:spMkLst>
        </pc:spChg>
        <pc:graphicFrameChg chg="mod">
          <ac:chgData name="Michael Bailit" userId="6e5c4604-85bf-41ef-8e97-4724b7d56589" providerId="ADAL" clId="{83774557-9449-4090-8E14-8380B2278611}" dt="2020-12-29T02:05:54.353" v="780" actId="1076"/>
          <ac:graphicFrameMkLst>
            <pc:docMk/>
            <pc:sldMk cId="3696934096" sldId="1536"/>
            <ac:graphicFrameMk id="4" creationId="{A07F81A8-3F21-4AF1-BE99-52434C3FE90E}"/>
          </ac:graphicFrameMkLst>
        </pc:graphicFrameChg>
      </pc:sldChg>
      <pc:sldChg chg="modSp mod addCm modCm">
        <pc:chgData name="Michael Bailit" userId="6e5c4604-85bf-41ef-8e97-4724b7d56589" providerId="ADAL" clId="{83774557-9449-4090-8E14-8380B2278611}" dt="2021-01-07T01:41:12.274" v="2457" actId="948"/>
        <pc:sldMkLst>
          <pc:docMk/>
          <pc:sldMk cId="1420463798" sldId="1537"/>
        </pc:sldMkLst>
        <pc:spChg chg="mod">
          <ac:chgData name="Michael Bailit" userId="6e5c4604-85bf-41ef-8e97-4724b7d56589" providerId="ADAL" clId="{83774557-9449-4090-8E14-8380B2278611}" dt="2021-01-07T01:41:12.274" v="2457" actId="948"/>
          <ac:spMkLst>
            <pc:docMk/>
            <pc:sldMk cId="1420463798" sldId="1537"/>
            <ac:spMk id="3" creationId="{99F10C82-2500-4B24-974C-7D4072BD1F06}"/>
          </ac:spMkLst>
        </pc:spChg>
        <pc:spChg chg="mod">
          <ac:chgData name="Michael Bailit" userId="6e5c4604-85bf-41ef-8e97-4724b7d56589" providerId="ADAL" clId="{83774557-9449-4090-8E14-8380B2278611}" dt="2020-12-29T02:11:16.426" v="856" actId="20577"/>
          <ac:spMkLst>
            <pc:docMk/>
            <pc:sldMk cId="1420463798" sldId="1537"/>
            <ac:spMk id="5" creationId="{2BAB1D98-85D7-4F26-B9A3-C416A420488B}"/>
          </ac:spMkLst>
        </pc:spChg>
        <pc:graphicFrameChg chg="mod">
          <ac:chgData name="Michael Bailit" userId="6e5c4604-85bf-41ef-8e97-4724b7d56589" providerId="ADAL" clId="{83774557-9449-4090-8E14-8380B2278611}" dt="2021-01-07T01:40:50.070" v="2455" actId="1076"/>
          <ac:graphicFrameMkLst>
            <pc:docMk/>
            <pc:sldMk cId="1420463798" sldId="1537"/>
            <ac:graphicFrameMk id="4" creationId="{E95FDC7E-37CF-471F-8625-B1FDD8112C17}"/>
          </ac:graphicFrameMkLst>
        </pc:graphicFrameChg>
      </pc:sldChg>
      <pc:sldChg chg="modSp mod addCm delCm modCm modNotesTx">
        <pc:chgData name="Michael Bailit" userId="6e5c4604-85bf-41ef-8e97-4724b7d56589" providerId="ADAL" clId="{83774557-9449-4090-8E14-8380B2278611}" dt="2021-01-07T01:41:29.529" v="2459" actId="20577"/>
        <pc:sldMkLst>
          <pc:docMk/>
          <pc:sldMk cId="1504907557" sldId="1538"/>
        </pc:sldMkLst>
        <pc:spChg chg="mod">
          <ac:chgData name="Michael Bailit" userId="6e5c4604-85bf-41ef-8e97-4724b7d56589" providerId="ADAL" clId="{83774557-9449-4090-8E14-8380B2278611}" dt="2021-01-07T01:41:29.529" v="2459" actId="20577"/>
          <ac:spMkLst>
            <pc:docMk/>
            <pc:sldMk cId="1504907557" sldId="1538"/>
            <ac:spMk id="3" creationId="{3B8E3DF3-91B7-4AF5-AA14-3CC7A121023B}"/>
          </ac:spMkLst>
        </pc:spChg>
        <pc:spChg chg="mod">
          <ac:chgData name="Michael Bailit" userId="6e5c4604-85bf-41ef-8e97-4724b7d56589" providerId="ADAL" clId="{83774557-9449-4090-8E14-8380B2278611}" dt="2020-12-29T02:11:23.474" v="857" actId="14100"/>
          <ac:spMkLst>
            <pc:docMk/>
            <pc:sldMk cId="1504907557" sldId="1538"/>
            <ac:spMk id="6" creationId="{7F8A204F-7635-48D7-BFC6-F39157A3405D}"/>
          </ac:spMkLst>
        </pc:spChg>
      </pc:sldChg>
      <pc:sldChg chg="modSp mod addCm delCm modCm">
        <pc:chgData name="Michael Bailit" userId="6e5c4604-85bf-41ef-8e97-4724b7d56589" providerId="ADAL" clId="{83774557-9449-4090-8E14-8380B2278611}" dt="2021-01-14T02:02:23.671" v="3159" actId="20577"/>
        <pc:sldMkLst>
          <pc:docMk/>
          <pc:sldMk cId="2326987667" sldId="1539"/>
        </pc:sldMkLst>
        <pc:spChg chg="mod">
          <ac:chgData name="Michael Bailit" userId="6e5c4604-85bf-41ef-8e97-4724b7d56589" providerId="ADAL" clId="{83774557-9449-4090-8E14-8380B2278611}" dt="2021-01-07T01:41:49.033" v="2460" actId="255"/>
          <ac:spMkLst>
            <pc:docMk/>
            <pc:sldMk cId="2326987667" sldId="1539"/>
            <ac:spMk id="3" creationId="{364861FC-6692-4114-8B9C-D3B022278DAD}"/>
          </ac:spMkLst>
        </pc:spChg>
        <pc:spChg chg="mod">
          <ac:chgData name="Michael Bailit" userId="6e5c4604-85bf-41ef-8e97-4724b7d56589" providerId="ADAL" clId="{83774557-9449-4090-8E14-8380B2278611}" dt="2020-12-29T02:13:16.982" v="866" actId="1076"/>
          <ac:spMkLst>
            <pc:docMk/>
            <pc:sldMk cId="2326987667" sldId="1539"/>
            <ac:spMk id="5" creationId="{7B957CCC-CAC3-4A74-81A2-F94FB3A33A1A}"/>
          </ac:spMkLst>
        </pc:spChg>
        <pc:graphicFrameChg chg="mod">
          <ac:chgData name="Michael Bailit" userId="6e5c4604-85bf-41ef-8e97-4724b7d56589" providerId="ADAL" clId="{83774557-9449-4090-8E14-8380B2278611}" dt="2020-12-29T02:13:12.548" v="865" actId="1076"/>
          <ac:graphicFrameMkLst>
            <pc:docMk/>
            <pc:sldMk cId="2326987667" sldId="1539"/>
            <ac:graphicFrameMk id="4" creationId="{C8632FB6-F55E-4B58-8046-D8AF7105DF5D}"/>
          </ac:graphicFrameMkLst>
        </pc:graphicFrameChg>
        <pc:graphicFrameChg chg="modGraphic">
          <ac:chgData name="Michael Bailit" userId="6e5c4604-85bf-41ef-8e97-4724b7d56589" providerId="ADAL" clId="{83774557-9449-4090-8E14-8380B2278611}" dt="2021-01-14T02:02:23.671" v="3159" actId="20577"/>
          <ac:graphicFrameMkLst>
            <pc:docMk/>
            <pc:sldMk cId="2326987667" sldId="1539"/>
            <ac:graphicFrameMk id="6" creationId="{ED6FDEB9-E957-468F-A737-B60E98C2E5CF}"/>
          </ac:graphicFrameMkLst>
        </pc:graphicFrameChg>
      </pc:sldChg>
      <pc:sldChg chg="modSp mod">
        <pc:chgData name="Michael Bailit" userId="6e5c4604-85bf-41ef-8e97-4724b7d56589" providerId="ADAL" clId="{83774557-9449-4090-8E14-8380B2278611}" dt="2021-01-14T02:02:41.111" v="3163" actId="20577"/>
        <pc:sldMkLst>
          <pc:docMk/>
          <pc:sldMk cId="4034419199" sldId="1540"/>
        </pc:sldMkLst>
        <pc:spChg chg="mod">
          <ac:chgData name="Michael Bailit" userId="6e5c4604-85bf-41ef-8e97-4724b7d56589" providerId="ADAL" clId="{83774557-9449-4090-8E14-8380B2278611}" dt="2021-01-07T01:42:39.885" v="2463" actId="948"/>
          <ac:spMkLst>
            <pc:docMk/>
            <pc:sldMk cId="4034419199" sldId="1540"/>
            <ac:spMk id="3" creationId="{53497994-04F2-4183-BDA3-67BAF425F326}"/>
          </ac:spMkLst>
        </pc:spChg>
        <pc:spChg chg="mod">
          <ac:chgData name="Michael Bailit" userId="6e5c4604-85bf-41ef-8e97-4724b7d56589" providerId="ADAL" clId="{83774557-9449-4090-8E14-8380B2278611}" dt="2020-12-29T13:33:29.842" v="990" actId="20577"/>
          <ac:spMkLst>
            <pc:docMk/>
            <pc:sldMk cId="4034419199" sldId="1540"/>
            <ac:spMk id="5" creationId="{02866655-18A0-4487-92EB-45E22E435180}"/>
          </ac:spMkLst>
        </pc:spChg>
        <pc:graphicFrameChg chg="mod">
          <ac:chgData name="Michael Bailit" userId="6e5c4604-85bf-41ef-8e97-4724b7d56589" providerId="ADAL" clId="{83774557-9449-4090-8E14-8380B2278611}" dt="2021-01-07T01:42:49.281" v="2464" actId="1076"/>
          <ac:graphicFrameMkLst>
            <pc:docMk/>
            <pc:sldMk cId="4034419199" sldId="1540"/>
            <ac:graphicFrameMk id="4" creationId="{427A3F76-7F50-4126-AF94-A27ED42D987C}"/>
          </ac:graphicFrameMkLst>
        </pc:graphicFrameChg>
        <pc:graphicFrameChg chg="modGraphic">
          <ac:chgData name="Michael Bailit" userId="6e5c4604-85bf-41ef-8e97-4724b7d56589" providerId="ADAL" clId="{83774557-9449-4090-8E14-8380B2278611}" dt="2021-01-14T02:02:41.111" v="3163" actId="20577"/>
          <ac:graphicFrameMkLst>
            <pc:docMk/>
            <pc:sldMk cId="4034419199" sldId="1540"/>
            <ac:graphicFrameMk id="6" creationId="{703D5406-9548-4EE0-88A7-EBA10E780383}"/>
          </ac:graphicFrameMkLst>
        </pc:graphicFrameChg>
      </pc:sldChg>
      <pc:sldChg chg="modSp mod">
        <pc:chgData name="Michael Bailit" userId="6e5c4604-85bf-41ef-8e97-4724b7d56589" providerId="ADAL" clId="{83774557-9449-4090-8E14-8380B2278611}" dt="2020-12-29T13:47:52.999" v="1263" actId="1076"/>
        <pc:sldMkLst>
          <pc:docMk/>
          <pc:sldMk cId="4294662965" sldId="1541"/>
        </pc:sldMkLst>
        <pc:spChg chg="mod">
          <ac:chgData name="Michael Bailit" userId="6e5c4604-85bf-41ef-8e97-4724b7d56589" providerId="ADAL" clId="{83774557-9449-4090-8E14-8380B2278611}" dt="2020-12-29T13:47:49.079" v="1262" actId="948"/>
          <ac:spMkLst>
            <pc:docMk/>
            <pc:sldMk cId="4294662965" sldId="1541"/>
            <ac:spMk id="3" creationId="{DB4966CA-6796-4FFF-BB42-25D5922591D0}"/>
          </ac:spMkLst>
        </pc:spChg>
        <pc:graphicFrameChg chg="mod">
          <ac:chgData name="Michael Bailit" userId="6e5c4604-85bf-41ef-8e97-4724b7d56589" providerId="ADAL" clId="{83774557-9449-4090-8E14-8380B2278611}" dt="2020-12-29T13:47:52.999" v="1263" actId="1076"/>
          <ac:graphicFrameMkLst>
            <pc:docMk/>
            <pc:sldMk cId="4294662965" sldId="1541"/>
            <ac:graphicFrameMk id="4" creationId="{82565CFB-AE03-4F5A-A826-F0D5D2134E0A}"/>
          </ac:graphicFrameMkLst>
        </pc:graphicFrameChg>
      </pc:sldChg>
      <pc:sldChg chg="modSp mod addCm modCm">
        <pc:chgData name="Michael Bailit" userId="6e5c4604-85bf-41ef-8e97-4724b7d56589" providerId="ADAL" clId="{83774557-9449-4090-8E14-8380B2278611}" dt="2021-01-14T02:03:09.461" v="3171" actId="20577"/>
        <pc:sldMkLst>
          <pc:docMk/>
          <pc:sldMk cId="2827253852" sldId="1542"/>
        </pc:sldMkLst>
        <pc:spChg chg="mod">
          <ac:chgData name="Michael Bailit" userId="6e5c4604-85bf-41ef-8e97-4724b7d56589" providerId="ADAL" clId="{83774557-9449-4090-8E14-8380B2278611}" dt="2021-01-07T01:43:19.626" v="2466" actId="20577"/>
          <ac:spMkLst>
            <pc:docMk/>
            <pc:sldMk cId="2827253852" sldId="1542"/>
            <ac:spMk id="3" creationId="{ED7C90B3-693B-4B0C-A359-1491F78CFD76}"/>
          </ac:spMkLst>
        </pc:spChg>
        <pc:spChg chg="mod">
          <ac:chgData name="Michael Bailit" userId="6e5c4604-85bf-41ef-8e97-4724b7d56589" providerId="ADAL" clId="{83774557-9449-4090-8E14-8380B2278611}" dt="2020-12-29T13:51:12.447" v="1420" actId="1076"/>
          <ac:spMkLst>
            <pc:docMk/>
            <pc:sldMk cId="2827253852" sldId="1542"/>
            <ac:spMk id="5" creationId="{0C1535A6-0530-419C-A9F8-75E17C3DAF9E}"/>
          </ac:spMkLst>
        </pc:spChg>
        <pc:graphicFrameChg chg="mod">
          <ac:chgData name="Michael Bailit" userId="6e5c4604-85bf-41ef-8e97-4724b7d56589" providerId="ADAL" clId="{83774557-9449-4090-8E14-8380B2278611}" dt="2020-12-29T13:51:07.224" v="1419" actId="1076"/>
          <ac:graphicFrameMkLst>
            <pc:docMk/>
            <pc:sldMk cId="2827253852" sldId="1542"/>
            <ac:graphicFrameMk id="4" creationId="{C6985055-E32D-4FA0-A826-4C444C91F97C}"/>
          </ac:graphicFrameMkLst>
        </pc:graphicFrameChg>
        <pc:graphicFrameChg chg="modGraphic">
          <ac:chgData name="Michael Bailit" userId="6e5c4604-85bf-41ef-8e97-4724b7d56589" providerId="ADAL" clId="{83774557-9449-4090-8E14-8380B2278611}" dt="2021-01-14T02:03:09.461" v="3171" actId="20577"/>
          <ac:graphicFrameMkLst>
            <pc:docMk/>
            <pc:sldMk cId="2827253852" sldId="1542"/>
            <ac:graphicFrameMk id="6" creationId="{3742F499-8498-45F9-A9F0-1C24ABD99E48}"/>
          </ac:graphicFrameMkLst>
        </pc:graphicFrameChg>
      </pc:sldChg>
      <pc:sldChg chg="modSp mod">
        <pc:chgData name="Michael Bailit" userId="6e5c4604-85bf-41ef-8e97-4724b7d56589" providerId="ADAL" clId="{83774557-9449-4090-8E14-8380B2278611}" dt="2021-01-14T02:03:14.914" v="3173" actId="20577"/>
        <pc:sldMkLst>
          <pc:docMk/>
          <pc:sldMk cId="91523219" sldId="1543"/>
        </pc:sldMkLst>
        <pc:spChg chg="mod">
          <ac:chgData name="Michael Bailit" userId="6e5c4604-85bf-41ef-8e97-4724b7d56589" providerId="ADAL" clId="{83774557-9449-4090-8E14-8380B2278611}" dt="2021-01-07T01:43:41.769" v="2467" actId="948"/>
          <ac:spMkLst>
            <pc:docMk/>
            <pc:sldMk cId="91523219" sldId="1543"/>
            <ac:spMk id="3" creationId="{74E02507-FFC8-4738-8342-A86E5574F4C6}"/>
          </ac:spMkLst>
        </pc:spChg>
        <pc:spChg chg="mod">
          <ac:chgData name="Michael Bailit" userId="6e5c4604-85bf-41ef-8e97-4724b7d56589" providerId="ADAL" clId="{83774557-9449-4090-8E14-8380B2278611}" dt="2020-12-29T13:53:48.998" v="1502" actId="20577"/>
          <ac:spMkLst>
            <pc:docMk/>
            <pc:sldMk cId="91523219" sldId="1543"/>
            <ac:spMk id="5" creationId="{F72C246E-9627-4F64-BB9B-5612F5D42D80}"/>
          </ac:spMkLst>
        </pc:spChg>
        <pc:graphicFrameChg chg="mod">
          <ac:chgData name="Michael Bailit" userId="6e5c4604-85bf-41ef-8e97-4724b7d56589" providerId="ADAL" clId="{83774557-9449-4090-8E14-8380B2278611}" dt="2021-01-07T01:43:49.002" v="2468" actId="1076"/>
          <ac:graphicFrameMkLst>
            <pc:docMk/>
            <pc:sldMk cId="91523219" sldId="1543"/>
            <ac:graphicFrameMk id="4" creationId="{E7312D6A-5DFD-44D2-8804-11047692A597}"/>
          </ac:graphicFrameMkLst>
        </pc:graphicFrameChg>
        <pc:graphicFrameChg chg="modGraphic">
          <ac:chgData name="Michael Bailit" userId="6e5c4604-85bf-41ef-8e97-4724b7d56589" providerId="ADAL" clId="{83774557-9449-4090-8E14-8380B2278611}" dt="2021-01-14T02:03:14.914" v="3173" actId="20577"/>
          <ac:graphicFrameMkLst>
            <pc:docMk/>
            <pc:sldMk cId="91523219" sldId="1543"/>
            <ac:graphicFrameMk id="7" creationId="{A00EC0A3-093C-4F1B-B425-6D2E8B755C18}"/>
          </ac:graphicFrameMkLst>
        </pc:graphicFrameChg>
      </pc:sldChg>
      <pc:sldChg chg="modSp mod">
        <pc:chgData name="Michael Bailit" userId="6e5c4604-85bf-41ef-8e97-4724b7d56589" providerId="ADAL" clId="{83774557-9449-4090-8E14-8380B2278611}" dt="2021-01-14T02:03:21.787" v="3175" actId="20577"/>
        <pc:sldMkLst>
          <pc:docMk/>
          <pc:sldMk cId="3173968709" sldId="1545"/>
        </pc:sldMkLst>
        <pc:spChg chg="mod">
          <ac:chgData name="Michael Bailit" userId="6e5c4604-85bf-41ef-8e97-4724b7d56589" providerId="ADAL" clId="{83774557-9449-4090-8E14-8380B2278611}" dt="2021-01-07T01:44:28.099" v="2471" actId="948"/>
          <ac:spMkLst>
            <pc:docMk/>
            <pc:sldMk cId="3173968709" sldId="1545"/>
            <ac:spMk id="3" creationId="{7457BE4E-9820-4356-97DF-72EB04A8C60E}"/>
          </ac:spMkLst>
        </pc:spChg>
        <pc:spChg chg="mod">
          <ac:chgData name="Michael Bailit" userId="6e5c4604-85bf-41ef-8e97-4724b7d56589" providerId="ADAL" clId="{83774557-9449-4090-8E14-8380B2278611}" dt="2020-12-29T13:59:35.304" v="1673" actId="1076"/>
          <ac:spMkLst>
            <pc:docMk/>
            <pc:sldMk cId="3173968709" sldId="1545"/>
            <ac:spMk id="5" creationId="{B1D73052-1E95-4091-AD20-2DF93EB5E300}"/>
          </ac:spMkLst>
        </pc:spChg>
        <pc:graphicFrameChg chg="mod modGraphic">
          <ac:chgData name="Michael Bailit" userId="6e5c4604-85bf-41ef-8e97-4724b7d56589" providerId="ADAL" clId="{83774557-9449-4090-8E14-8380B2278611}" dt="2020-12-29T13:58:24.321" v="1584" actId="1076"/>
          <ac:graphicFrameMkLst>
            <pc:docMk/>
            <pc:sldMk cId="3173968709" sldId="1545"/>
            <ac:graphicFrameMk id="4" creationId="{AD037B24-F700-4A18-80D7-2A0638A71481}"/>
          </ac:graphicFrameMkLst>
        </pc:graphicFrameChg>
        <pc:graphicFrameChg chg="modGraphic">
          <ac:chgData name="Michael Bailit" userId="6e5c4604-85bf-41ef-8e97-4724b7d56589" providerId="ADAL" clId="{83774557-9449-4090-8E14-8380B2278611}" dt="2021-01-14T02:03:21.787" v="3175" actId="20577"/>
          <ac:graphicFrameMkLst>
            <pc:docMk/>
            <pc:sldMk cId="3173968709" sldId="1545"/>
            <ac:graphicFrameMk id="7" creationId="{39BAF4DC-224B-4183-9474-B7DD30F26D81}"/>
          </ac:graphicFrameMkLst>
        </pc:graphicFrameChg>
      </pc:sldChg>
      <pc:sldChg chg="modSp mod">
        <pc:chgData name="Michael Bailit" userId="6e5c4604-85bf-41ef-8e97-4724b7d56589" providerId="ADAL" clId="{83774557-9449-4090-8E14-8380B2278611}" dt="2021-01-07T01:44:46.536" v="2472" actId="948"/>
        <pc:sldMkLst>
          <pc:docMk/>
          <pc:sldMk cId="200381774" sldId="1546"/>
        </pc:sldMkLst>
        <pc:spChg chg="mod">
          <ac:chgData name="Michael Bailit" userId="6e5c4604-85bf-41ef-8e97-4724b7d56589" providerId="ADAL" clId="{83774557-9449-4090-8E14-8380B2278611}" dt="2021-01-07T01:44:46.536" v="2472" actId="948"/>
          <ac:spMkLst>
            <pc:docMk/>
            <pc:sldMk cId="200381774" sldId="1546"/>
            <ac:spMk id="3" creationId="{4DC0CD9D-7438-4A3E-BFB9-4C46519AF2AA}"/>
          </ac:spMkLst>
        </pc:spChg>
        <pc:spChg chg="mod">
          <ac:chgData name="Michael Bailit" userId="6e5c4604-85bf-41ef-8e97-4724b7d56589" providerId="ADAL" clId="{83774557-9449-4090-8E14-8380B2278611}" dt="2020-12-29T13:59:51.729" v="1675" actId="1076"/>
          <ac:spMkLst>
            <pc:docMk/>
            <pc:sldMk cId="200381774" sldId="1546"/>
            <ac:spMk id="5" creationId="{4D1EA680-054F-4F56-A428-1DDF818D71D0}"/>
          </ac:spMkLst>
        </pc:spChg>
      </pc:sldChg>
      <pc:sldChg chg="modSp mod">
        <pc:chgData name="Michael Bailit" userId="6e5c4604-85bf-41ef-8e97-4724b7d56589" providerId="ADAL" clId="{83774557-9449-4090-8E14-8380B2278611}" dt="2021-01-14T02:03:45.789" v="3177" actId="20577"/>
        <pc:sldMkLst>
          <pc:docMk/>
          <pc:sldMk cId="2471568903" sldId="1547"/>
        </pc:sldMkLst>
        <pc:spChg chg="mod">
          <ac:chgData name="Michael Bailit" userId="6e5c4604-85bf-41ef-8e97-4724b7d56589" providerId="ADAL" clId="{83774557-9449-4090-8E14-8380B2278611}" dt="2020-12-29T14:01:49.439" v="1714" actId="20577"/>
          <ac:spMkLst>
            <pc:docMk/>
            <pc:sldMk cId="2471568903" sldId="1547"/>
            <ac:spMk id="2" creationId="{CA217E07-2775-40EB-AE24-F6F19F5CCC54}"/>
          </ac:spMkLst>
        </pc:spChg>
        <pc:spChg chg="mod">
          <ac:chgData name="Michael Bailit" userId="6e5c4604-85bf-41ef-8e97-4724b7d56589" providerId="ADAL" clId="{83774557-9449-4090-8E14-8380B2278611}" dt="2021-01-07T01:45:02.098" v="2473" actId="948"/>
          <ac:spMkLst>
            <pc:docMk/>
            <pc:sldMk cId="2471568903" sldId="1547"/>
            <ac:spMk id="3" creationId="{35F68FCA-C563-406E-8DC0-D12EBABCEB43}"/>
          </ac:spMkLst>
        </pc:spChg>
        <pc:spChg chg="mod">
          <ac:chgData name="Michael Bailit" userId="6e5c4604-85bf-41ef-8e97-4724b7d56589" providerId="ADAL" clId="{83774557-9449-4090-8E14-8380B2278611}" dt="2020-12-29T14:01:36.864" v="1713" actId="20577"/>
          <ac:spMkLst>
            <pc:docMk/>
            <pc:sldMk cId="2471568903" sldId="1547"/>
            <ac:spMk id="5" creationId="{ECF74BC5-E637-4B77-96B8-BFEAA3701BAA}"/>
          </ac:spMkLst>
        </pc:spChg>
        <pc:graphicFrameChg chg="mod">
          <ac:chgData name="Michael Bailit" userId="6e5c4604-85bf-41ef-8e97-4724b7d56589" providerId="ADAL" clId="{83774557-9449-4090-8E14-8380B2278611}" dt="2020-12-29T14:01:18.936" v="1706" actId="1076"/>
          <ac:graphicFrameMkLst>
            <pc:docMk/>
            <pc:sldMk cId="2471568903" sldId="1547"/>
            <ac:graphicFrameMk id="4" creationId="{B4BE7D98-6C4A-4E9C-BC04-CC4046BA999A}"/>
          </ac:graphicFrameMkLst>
        </pc:graphicFrameChg>
        <pc:graphicFrameChg chg="modGraphic">
          <ac:chgData name="Michael Bailit" userId="6e5c4604-85bf-41ef-8e97-4724b7d56589" providerId="ADAL" clId="{83774557-9449-4090-8E14-8380B2278611}" dt="2021-01-14T02:03:45.789" v="3177" actId="20577"/>
          <ac:graphicFrameMkLst>
            <pc:docMk/>
            <pc:sldMk cId="2471568903" sldId="1547"/>
            <ac:graphicFrameMk id="6" creationId="{84757D27-93B0-49E1-A595-08CA877806BB}"/>
          </ac:graphicFrameMkLst>
        </pc:graphicFrameChg>
      </pc:sldChg>
      <pc:sldChg chg="addSp modSp mod addCm delCm modCm">
        <pc:chgData name="Michael Bailit" userId="6e5c4604-85bf-41ef-8e97-4724b7d56589" providerId="ADAL" clId="{83774557-9449-4090-8E14-8380B2278611}" dt="2021-01-14T02:03:54.803" v="3179" actId="20577"/>
        <pc:sldMkLst>
          <pc:docMk/>
          <pc:sldMk cId="1451882486" sldId="1548"/>
        </pc:sldMkLst>
        <pc:spChg chg="mod">
          <ac:chgData name="Michael Bailit" userId="6e5c4604-85bf-41ef-8e97-4724b7d56589" providerId="ADAL" clId="{83774557-9449-4090-8E14-8380B2278611}" dt="2021-01-07T01:46:55.802" v="2561" actId="20577"/>
          <ac:spMkLst>
            <pc:docMk/>
            <pc:sldMk cId="1451882486" sldId="1548"/>
            <ac:spMk id="3" creationId="{36AB7E7D-D07D-4787-B754-898CFA0CF4E0}"/>
          </ac:spMkLst>
        </pc:spChg>
        <pc:spChg chg="mod">
          <ac:chgData name="Michael Bailit" userId="6e5c4604-85bf-41ef-8e97-4724b7d56589" providerId="ADAL" clId="{83774557-9449-4090-8E14-8380B2278611}" dt="2020-12-29T14:22:34.624" v="2039" actId="14100"/>
          <ac:spMkLst>
            <pc:docMk/>
            <pc:sldMk cId="1451882486" sldId="1548"/>
            <ac:spMk id="5" creationId="{725D633B-162B-4790-923B-E2A6AFF23FB4}"/>
          </ac:spMkLst>
        </pc:spChg>
        <pc:spChg chg="add mod">
          <ac:chgData name="Michael Bailit" userId="6e5c4604-85bf-41ef-8e97-4724b7d56589" providerId="ADAL" clId="{83774557-9449-4090-8E14-8380B2278611}" dt="2020-12-29T14:23:37.496" v="2057"/>
          <ac:spMkLst>
            <pc:docMk/>
            <pc:sldMk cId="1451882486" sldId="1548"/>
            <ac:spMk id="6" creationId="{B260BECF-3E2C-4338-A8DC-44AED0BE6A61}"/>
          </ac:spMkLst>
        </pc:spChg>
        <pc:graphicFrameChg chg="mod">
          <ac:chgData name="Michael Bailit" userId="6e5c4604-85bf-41ef-8e97-4724b7d56589" providerId="ADAL" clId="{83774557-9449-4090-8E14-8380B2278611}" dt="2021-01-07T01:46:23.348" v="2540" actId="1076"/>
          <ac:graphicFrameMkLst>
            <pc:docMk/>
            <pc:sldMk cId="1451882486" sldId="1548"/>
            <ac:graphicFrameMk id="4" creationId="{7D09E36F-77C8-456E-9949-639DBFBB69FA}"/>
          </ac:graphicFrameMkLst>
        </pc:graphicFrameChg>
        <pc:graphicFrameChg chg="modGraphic">
          <ac:chgData name="Michael Bailit" userId="6e5c4604-85bf-41ef-8e97-4724b7d56589" providerId="ADAL" clId="{83774557-9449-4090-8E14-8380B2278611}" dt="2021-01-14T02:03:54.803" v="3179" actId="20577"/>
          <ac:graphicFrameMkLst>
            <pc:docMk/>
            <pc:sldMk cId="1451882486" sldId="1548"/>
            <ac:graphicFrameMk id="6" creationId="{23509208-85DA-43CA-A720-7F0C1313817D}"/>
          </ac:graphicFrameMkLst>
        </pc:graphicFrameChg>
      </pc:sldChg>
      <pc:sldChg chg="modSp mod">
        <pc:chgData name="Michael Bailit" userId="6e5c4604-85bf-41ef-8e97-4724b7d56589" providerId="ADAL" clId="{83774557-9449-4090-8E14-8380B2278611}" dt="2021-01-07T01:47:41.583" v="2562" actId="948"/>
        <pc:sldMkLst>
          <pc:docMk/>
          <pc:sldMk cId="2986110700" sldId="1549"/>
        </pc:sldMkLst>
        <pc:spChg chg="mod">
          <ac:chgData name="Michael Bailit" userId="6e5c4604-85bf-41ef-8e97-4724b7d56589" providerId="ADAL" clId="{83774557-9449-4090-8E14-8380B2278611}" dt="2020-12-29T14:05:09.091" v="1743" actId="20577"/>
          <ac:spMkLst>
            <pc:docMk/>
            <pc:sldMk cId="2986110700" sldId="1549"/>
            <ac:spMk id="2" creationId="{0DEC4E78-9643-49D9-9969-DB265DC72C4B}"/>
          </ac:spMkLst>
        </pc:spChg>
        <pc:spChg chg="mod">
          <ac:chgData name="Michael Bailit" userId="6e5c4604-85bf-41ef-8e97-4724b7d56589" providerId="ADAL" clId="{83774557-9449-4090-8E14-8380B2278611}" dt="2021-01-07T01:47:41.583" v="2562" actId="948"/>
          <ac:spMkLst>
            <pc:docMk/>
            <pc:sldMk cId="2986110700" sldId="1549"/>
            <ac:spMk id="3" creationId="{DEF8C6E0-3892-4845-842F-4B8F6CCCAD02}"/>
          </ac:spMkLst>
        </pc:spChg>
        <pc:spChg chg="mod">
          <ac:chgData name="Michael Bailit" userId="6e5c4604-85bf-41ef-8e97-4724b7d56589" providerId="ADAL" clId="{83774557-9449-4090-8E14-8380B2278611}" dt="2020-12-29T14:05:01.672" v="1741" actId="1076"/>
          <ac:spMkLst>
            <pc:docMk/>
            <pc:sldMk cId="2986110700" sldId="1549"/>
            <ac:spMk id="7" creationId="{6C11DFCB-FCA9-4925-BC1F-23AD346E8CB1}"/>
          </ac:spMkLst>
        </pc:spChg>
        <pc:graphicFrameChg chg="mod">
          <ac:chgData name="Michael Bailit" userId="6e5c4604-85bf-41ef-8e97-4724b7d56589" providerId="ADAL" clId="{83774557-9449-4090-8E14-8380B2278611}" dt="2020-12-29T14:04:57.808" v="1740" actId="1076"/>
          <ac:graphicFrameMkLst>
            <pc:docMk/>
            <pc:sldMk cId="2986110700" sldId="1549"/>
            <ac:graphicFrameMk id="5" creationId="{2479DF4A-AB7E-4682-8243-434E1AF8EFA0}"/>
          </ac:graphicFrameMkLst>
        </pc:graphicFrameChg>
      </pc:sldChg>
      <pc:sldChg chg="modSp mod">
        <pc:chgData name="Michael Bailit" userId="6e5c4604-85bf-41ef-8e97-4724b7d56589" providerId="ADAL" clId="{83774557-9449-4090-8E14-8380B2278611}" dt="2021-01-07T01:48:13.345" v="2563" actId="20577"/>
        <pc:sldMkLst>
          <pc:docMk/>
          <pc:sldMk cId="4196504506" sldId="1550"/>
        </pc:sldMkLst>
        <pc:spChg chg="mod">
          <ac:chgData name="Michael Bailit" userId="6e5c4604-85bf-41ef-8e97-4724b7d56589" providerId="ADAL" clId="{83774557-9449-4090-8E14-8380B2278611}" dt="2021-01-07T01:48:13.345" v="2563" actId="20577"/>
          <ac:spMkLst>
            <pc:docMk/>
            <pc:sldMk cId="4196504506" sldId="1550"/>
            <ac:spMk id="3" creationId="{CDD0AFB8-6795-4384-ACBC-6EEB61998ABF}"/>
          </ac:spMkLst>
        </pc:spChg>
        <pc:spChg chg="mod">
          <ac:chgData name="Michael Bailit" userId="6e5c4604-85bf-41ef-8e97-4724b7d56589" providerId="ADAL" clId="{83774557-9449-4090-8E14-8380B2278611}" dt="2020-12-29T14:05:51.561" v="1753" actId="20577"/>
          <ac:spMkLst>
            <pc:docMk/>
            <pc:sldMk cId="4196504506" sldId="1550"/>
            <ac:spMk id="6" creationId="{4D4422F7-4FDE-4FFA-A88E-C4A9B612947C}"/>
          </ac:spMkLst>
        </pc:spChg>
        <pc:graphicFrameChg chg="mod">
          <ac:chgData name="Michael Bailit" userId="6e5c4604-85bf-41ef-8e97-4724b7d56589" providerId="ADAL" clId="{83774557-9449-4090-8E14-8380B2278611}" dt="2020-12-29T14:05:38.295" v="1746" actId="1076"/>
          <ac:graphicFrameMkLst>
            <pc:docMk/>
            <pc:sldMk cId="4196504506" sldId="1550"/>
            <ac:graphicFrameMk id="5" creationId="{7BF7FAF3-8113-4262-951A-A5C74B852E83}"/>
          </ac:graphicFrameMkLst>
        </pc:graphicFrameChg>
      </pc:sldChg>
      <pc:sldChg chg="modSp mod addCm modCm">
        <pc:chgData name="Michael Bailit" userId="6e5c4604-85bf-41ef-8e97-4724b7d56589" providerId="ADAL" clId="{83774557-9449-4090-8E14-8380B2278611}" dt="2021-01-14T02:04:16.577" v="3183" actId="20577"/>
        <pc:sldMkLst>
          <pc:docMk/>
          <pc:sldMk cId="603129740" sldId="1551"/>
        </pc:sldMkLst>
        <pc:spChg chg="mod">
          <ac:chgData name="Michael Bailit" userId="6e5c4604-85bf-41ef-8e97-4724b7d56589" providerId="ADAL" clId="{83774557-9449-4090-8E14-8380B2278611}" dt="2020-12-29T14:24:26.860" v="2061" actId="948"/>
          <ac:spMkLst>
            <pc:docMk/>
            <pc:sldMk cId="603129740" sldId="1551"/>
            <ac:spMk id="3" creationId="{6E0DBF35-739E-49F1-9AA6-E1429F90F301}"/>
          </ac:spMkLst>
        </pc:spChg>
        <pc:spChg chg="mod">
          <ac:chgData name="Michael Bailit" userId="6e5c4604-85bf-41ef-8e97-4724b7d56589" providerId="ADAL" clId="{83774557-9449-4090-8E14-8380B2278611}" dt="2020-12-29T14:24:34.463" v="2063" actId="1076"/>
          <ac:spMkLst>
            <pc:docMk/>
            <pc:sldMk cId="603129740" sldId="1551"/>
            <ac:spMk id="5" creationId="{1BFCF6B2-1CFE-4426-89E8-09BC7923056C}"/>
          </ac:spMkLst>
        </pc:spChg>
        <pc:graphicFrameChg chg="mod">
          <ac:chgData name="Michael Bailit" userId="6e5c4604-85bf-41ef-8e97-4724b7d56589" providerId="ADAL" clId="{83774557-9449-4090-8E14-8380B2278611}" dt="2020-12-29T14:24:31.327" v="2062" actId="1076"/>
          <ac:graphicFrameMkLst>
            <pc:docMk/>
            <pc:sldMk cId="603129740" sldId="1551"/>
            <ac:graphicFrameMk id="4" creationId="{CD4ADA8E-B39D-409E-A228-820EC402CA21}"/>
          </ac:graphicFrameMkLst>
        </pc:graphicFrameChg>
        <pc:graphicFrameChg chg="modGraphic">
          <ac:chgData name="Michael Bailit" userId="6e5c4604-85bf-41ef-8e97-4724b7d56589" providerId="ADAL" clId="{83774557-9449-4090-8E14-8380B2278611}" dt="2021-01-14T02:04:16.577" v="3183" actId="20577"/>
          <ac:graphicFrameMkLst>
            <pc:docMk/>
            <pc:sldMk cId="603129740" sldId="1551"/>
            <ac:graphicFrameMk id="6" creationId="{DF9C304A-7691-496B-9165-76A9A826538D}"/>
          </ac:graphicFrameMkLst>
        </pc:graphicFrameChg>
      </pc:sldChg>
      <pc:sldChg chg="modSp mod">
        <pc:chgData name="Michael Bailit" userId="6e5c4604-85bf-41ef-8e97-4724b7d56589" providerId="ADAL" clId="{83774557-9449-4090-8E14-8380B2278611}" dt="2021-01-14T02:04:28.921" v="3185" actId="20577"/>
        <pc:sldMkLst>
          <pc:docMk/>
          <pc:sldMk cId="3591097128" sldId="1552"/>
        </pc:sldMkLst>
        <pc:spChg chg="mod">
          <ac:chgData name="Michael Bailit" userId="6e5c4604-85bf-41ef-8e97-4724b7d56589" providerId="ADAL" clId="{83774557-9449-4090-8E14-8380B2278611}" dt="2021-01-07T01:49:22.958" v="2570" actId="20577"/>
          <ac:spMkLst>
            <pc:docMk/>
            <pc:sldMk cId="3591097128" sldId="1552"/>
            <ac:spMk id="3" creationId="{56500D71-7DDF-43A0-9BDB-49106371B3A5}"/>
          </ac:spMkLst>
        </pc:spChg>
        <pc:spChg chg="mod">
          <ac:chgData name="Michael Bailit" userId="6e5c4604-85bf-41ef-8e97-4724b7d56589" providerId="ADAL" clId="{83774557-9449-4090-8E14-8380B2278611}" dt="2020-12-29T14:08:14.040" v="1810" actId="1076"/>
          <ac:spMkLst>
            <pc:docMk/>
            <pc:sldMk cId="3591097128" sldId="1552"/>
            <ac:spMk id="5" creationId="{9A83CB93-D097-4604-BF56-4275D277238B}"/>
          </ac:spMkLst>
        </pc:spChg>
        <pc:graphicFrameChg chg="modGraphic">
          <ac:chgData name="Michael Bailit" userId="6e5c4604-85bf-41ef-8e97-4724b7d56589" providerId="ADAL" clId="{83774557-9449-4090-8E14-8380B2278611}" dt="2021-01-14T02:04:28.921" v="3185" actId="20577"/>
          <ac:graphicFrameMkLst>
            <pc:docMk/>
            <pc:sldMk cId="3591097128" sldId="1552"/>
            <ac:graphicFrameMk id="6" creationId="{D8BFCCE4-9213-4FAA-9776-21C0BB5AAAF1}"/>
          </ac:graphicFrameMkLst>
        </pc:graphicFrameChg>
      </pc:sldChg>
      <pc:sldChg chg="modSp mod addCm modCm">
        <pc:chgData name="Michael Bailit" userId="6e5c4604-85bf-41ef-8e97-4724b7d56589" providerId="ADAL" clId="{83774557-9449-4090-8E14-8380B2278611}" dt="2021-01-07T01:51:49.119" v="2631" actId="20577"/>
        <pc:sldMkLst>
          <pc:docMk/>
          <pc:sldMk cId="2001774138" sldId="1553"/>
        </pc:sldMkLst>
        <pc:spChg chg="mod">
          <ac:chgData name="Michael Bailit" userId="6e5c4604-85bf-41ef-8e97-4724b7d56589" providerId="ADAL" clId="{83774557-9449-4090-8E14-8380B2278611}" dt="2021-01-07T01:51:49.119" v="2631" actId="20577"/>
          <ac:spMkLst>
            <pc:docMk/>
            <pc:sldMk cId="2001774138" sldId="1553"/>
            <ac:spMk id="3" creationId="{D497B01A-0F82-4597-8679-2FEF3C882560}"/>
          </ac:spMkLst>
        </pc:spChg>
        <pc:spChg chg="mod">
          <ac:chgData name="Michael Bailit" userId="6e5c4604-85bf-41ef-8e97-4724b7d56589" providerId="ADAL" clId="{83774557-9449-4090-8E14-8380B2278611}" dt="2021-01-07T01:50:21.333" v="2587" actId="1076"/>
          <ac:spMkLst>
            <pc:docMk/>
            <pc:sldMk cId="2001774138" sldId="1553"/>
            <ac:spMk id="5" creationId="{473231D9-7D5D-478F-A396-C554CC31470E}"/>
          </ac:spMkLst>
        </pc:spChg>
        <pc:graphicFrameChg chg="mod">
          <ac:chgData name="Michael Bailit" userId="6e5c4604-85bf-41ef-8e97-4724b7d56589" providerId="ADAL" clId="{83774557-9449-4090-8E14-8380B2278611}" dt="2021-01-07T01:51:29.747" v="2617" actId="1076"/>
          <ac:graphicFrameMkLst>
            <pc:docMk/>
            <pc:sldMk cId="2001774138" sldId="1553"/>
            <ac:graphicFrameMk id="4" creationId="{6F75CA39-51EA-4502-A357-0B5F6B37C335}"/>
          </ac:graphicFrameMkLst>
        </pc:graphicFrameChg>
      </pc:sldChg>
      <pc:sldChg chg="modSp mod">
        <pc:chgData name="Michael Bailit" userId="6e5c4604-85bf-41ef-8e97-4724b7d56589" providerId="ADAL" clId="{83774557-9449-4090-8E14-8380B2278611}" dt="2020-12-29T14:18:16.679" v="2022" actId="1076"/>
        <pc:sldMkLst>
          <pc:docMk/>
          <pc:sldMk cId="624541904" sldId="1554"/>
        </pc:sldMkLst>
        <pc:spChg chg="mod">
          <ac:chgData name="Michael Bailit" userId="6e5c4604-85bf-41ef-8e97-4724b7d56589" providerId="ADAL" clId="{83774557-9449-4090-8E14-8380B2278611}" dt="2020-12-29T14:18:09.848" v="2020" actId="1076"/>
          <ac:spMkLst>
            <pc:docMk/>
            <pc:sldMk cId="624541904" sldId="1554"/>
            <ac:spMk id="3" creationId="{E18F122F-BE4A-49D9-976A-F3668F7BA406}"/>
          </ac:spMkLst>
        </pc:spChg>
        <pc:spChg chg="mod">
          <ac:chgData name="Michael Bailit" userId="6e5c4604-85bf-41ef-8e97-4724b7d56589" providerId="ADAL" clId="{83774557-9449-4090-8E14-8380B2278611}" dt="2020-12-29T14:18:16.679" v="2022" actId="1076"/>
          <ac:spMkLst>
            <pc:docMk/>
            <pc:sldMk cId="624541904" sldId="1554"/>
            <ac:spMk id="5" creationId="{B5322C5A-2298-4CB7-9BED-D94958C170EC}"/>
          </ac:spMkLst>
        </pc:spChg>
        <pc:graphicFrameChg chg="mod modGraphic">
          <ac:chgData name="Michael Bailit" userId="6e5c4604-85bf-41ef-8e97-4724b7d56589" providerId="ADAL" clId="{83774557-9449-4090-8E14-8380B2278611}" dt="2020-12-29T14:18:11.991" v="2021" actId="1076"/>
          <ac:graphicFrameMkLst>
            <pc:docMk/>
            <pc:sldMk cId="624541904" sldId="1554"/>
            <ac:graphicFrameMk id="4" creationId="{61DA3BDF-0539-4D44-96DC-FA33840495F6}"/>
          </ac:graphicFrameMkLst>
        </pc:graphicFrameChg>
      </pc:sldChg>
      <pc:sldChg chg="modSp mod">
        <pc:chgData name="Michael Bailit" userId="6e5c4604-85bf-41ef-8e97-4724b7d56589" providerId="ADAL" clId="{83774557-9449-4090-8E14-8380B2278611}" dt="2021-01-07T01:52:33.744" v="2634" actId="20577"/>
        <pc:sldMkLst>
          <pc:docMk/>
          <pc:sldMk cId="638657131" sldId="1555"/>
        </pc:sldMkLst>
        <pc:spChg chg="mod">
          <ac:chgData name="Michael Bailit" userId="6e5c4604-85bf-41ef-8e97-4724b7d56589" providerId="ADAL" clId="{83774557-9449-4090-8E14-8380B2278611}" dt="2021-01-07T01:52:33.744" v="2634" actId="20577"/>
          <ac:spMkLst>
            <pc:docMk/>
            <pc:sldMk cId="638657131" sldId="1555"/>
            <ac:spMk id="3" creationId="{E4467AED-E78C-4634-8645-D56FD55DC8B0}"/>
          </ac:spMkLst>
        </pc:spChg>
        <pc:spChg chg="mod">
          <ac:chgData name="Michael Bailit" userId="6e5c4604-85bf-41ef-8e97-4724b7d56589" providerId="ADAL" clId="{83774557-9449-4090-8E14-8380B2278611}" dt="2020-12-29T14:17:40.508" v="2018" actId="1076"/>
          <ac:spMkLst>
            <pc:docMk/>
            <pc:sldMk cId="638657131" sldId="1555"/>
            <ac:spMk id="5" creationId="{270C8C4C-17E1-47C1-8D5E-218FAD7FB993}"/>
          </ac:spMkLst>
        </pc:spChg>
        <pc:graphicFrameChg chg="mod">
          <ac:chgData name="Michael Bailit" userId="6e5c4604-85bf-41ef-8e97-4724b7d56589" providerId="ADAL" clId="{83774557-9449-4090-8E14-8380B2278611}" dt="2020-12-29T14:17:36.103" v="2017" actId="1076"/>
          <ac:graphicFrameMkLst>
            <pc:docMk/>
            <pc:sldMk cId="638657131" sldId="1555"/>
            <ac:graphicFrameMk id="4" creationId="{5AAFDEE7-0136-4903-BE3C-6D3815F2F01D}"/>
          </ac:graphicFrameMkLst>
        </pc:graphicFrameChg>
      </pc:sldChg>
      <pc:sldChg chg="modSp mod">
        <pc:chgData name="Michael Bailit" userId="6e5c4604-85bf-41ef-8e97-4724b7d56589" providerId="ADAL" clId="{83774557-9449-4090-8E14-8380B2278611}" dt="2020-12-29T14:25:25.075" v="2119" actId="20577"/>
        <pc:sldMkLst>
          <pc:docMk/>
          <pc:sldMk cId="1604107411" sldId="1556"/>
        </pc:sldMkLst>
        <pc:spChg chg="mod">
          <ac:chgData name="Michael Bailit" userId="6e5c4604-85bf-41ef-8e97-4724b7d56589" providerId="ADAL" clId="{83774557-9449-4090-8E14-8380B2278611}" dt="2020-12-29T14:25:21.346" v="2118" actId="20577"/>
          <ac:spMkLst>
            <pc:docMk/>
            <pc:sldMk cId="1604107411" sldId="1556"/>
            <ac:spMk id="3" creationId="{F4D22CA9-4571-4B9A-89DA-111BBA95E31C}"/>
          </ac:spMkLst>
        </pc:spChg>
        <pc:graphicFrameChg chg="mod modGraphic">
          <ac:chgData name="Michael Bailit" userId="6e5c4604-85bf-41ef-8e97-4724b7d56589" providerId="ADAL" clId="{83774557-9449-4090-8E14-8380B2278611}" dt="2020-12-29T14:25:25.075" v="2119" actId="20577"/>
          <ac:graphicFrameMkLst>
            <pc:docMk/>
            <pc:sldMk cId="1604107411" sldId="1556"/>
            <ac:graphicFrameMk id="4" creationId="{8E57F77A-2FB3-474B-BC1A-15F2CE39B360}"/>
          </ac:graphicFrameMkLst>
        </pc:graphicFrameChg>
      </pc:sldChg>
      <pc:sldChg chg="modSp mod addCm modCm">
        <pc:chgData name="Michael Bailit" userId="6e5c4604-85bf-41ef-8e97-4724b7d56589" providerId="ADAL" clId="{83774557-9449-4090-8E14-8380B2278611}" dt="2021-01-07T01:53:00.240" v="2644" actId="20577"/>
        <pc:sldMkLst>
          <pc:docMk/>
          <pc:sldMk cId="1559749281" sldId="1557"/>
        </pc:sldMkLst>
        <pc:spChg chg="mod">
          <ac:chgData name="Michael Bailit" userId="6e5c4604-85bf-41ef-8e97-4724b7d56589" providerId="ADAL" clId="{83774557-9449-4090-8E14-8380B2278611}" dt="2020-12-29T14:25:56.548" v="2120"/>
          <ac:spMkLst>
            <pc:docMk/>
            <pc:sldMk cId="1559749281" sldId="1557"/>
            <ac:spMk id="3" creationId="{8F09C89A-1973-4EB4-AB37-BD013019C0E4}"/>
          </ac:spMkLst>
        </pc:spChg>
        <pc:spChg chg="mod">
          <ac:chgData name="Michael Bailit" userId="6e5c4604-85bf-41ef-8e97-4724b7d56589" providerId="ADAL" clId="{83774557-9449-4090-8E14-8380B2278611}" dt="2020-12-29T14:26:06.279" v="2122" actId="1076"/>
          <ac:spMkLst>
            <pc:docMk/>
            <pc:sldMk cId="1559749281" sldId="1557"/>
            <ac:spMk id="5" creationId="{FDC55CE7-83E8-45E8-869A-4DDA3816B750}"/>
          </ac:spMkLst>
        </pc:spChg>
        <pc:spChg chg="mod">
          <ac:chgData name="Michael Bailit" userId="6e5c4604-85bf-41ef-8e97-4724b7d56589" providerId="ADAL" clId="{83774557-9449-4090-8E14-8380B2278611}" dt="2021-01-07T01:53:00.240" v="2644" actId="20577"/>
          <ac:spMkLst>
            <pc:docMk/>
            <pc:sldMk cId="1559749281" sldId="1557"/>
            <ac:spMk id="6" creationId="{274452AC-BA63-45BA-A1CC-F80D6C546769}"/>
          </ac:spMkLst>
        </pc:spChg>
        <pc:graphicFrameChg chg="mod">
          <ac:chgData name="Michael Bailit" userId="6e5c4604-85bf-41ef-8e97-4724b7d56589" providerId="ADAL" clId="{83774557-9449-4090-8E14-8380B2278611}" dt="2020-12-29T14:26:02.240" v="2121" actId="1076"/>
          <ac:graphicFrameMkLst>
            <pc:docMk/>
            <pc:sldMk cId="1559749281" sldId="1557"/>
            <ac:graphicFrameMk id="4" creationId="{02536408-6065-4F89-A17A-085267193A30}"/>
          </ac:graphicFrameMkLst>
        </pc:graphicFrameChg>
      </pc:sldChg>
      <pc:sldChg chg="modSp mod">
        <pc:chgData name="Michael Bailit" userId="6e5c4604-85bf-41ef-8e97-4724b7d56589" providerId="ADAL" clId="{83774557-9449-4090-8E14-8380B2278611}" dt="2021-01-07T01:53:13.358" v="2653" actId="20577"/>
        <pc:sldMkLst>
          <pc:docMk/>
          <pc:sldMk cId="3734404091" sldId="1558"/>
        </pc:sldMkLst>
        <pc:spChg chg="mod">
          <ac:chgData name="Michael Bailit" userId="6e5c4604-85bf-41ef-8e97-4724b7d56589" providerId="ADAL" clId="{83774557-9449-4090-8E14-8380B2278611}" dt="2020-12-29T14:59:40.003" v="2142" actId="20577"/>
          <ac:spMkLst>
            <pc:docMk/>
            <pc:sldMk cId="3734404091" sldId="1558"/>
            <ac:spMk id="3" creationId="{C6048145-3449-4C9F-BE72-E9B32885127C}"/>
          </ac:spMkLst>
        </pc:spChg>
        <pc:spChg chg="mod">
          <ac:chgData name="Michael Bailit" userId="6e5c4604-85bf-41ef-8e97-4724b7d56589" providerId="ADAL" clId="{83774557-9449-4090-8E14-8380B2278611}" dt="2021-01-07T01:53:13.358" v="2653" actId="20577"/>
          <ac:spMkLst>
            <pc:docMk/>
            <pc:sldMk cId="3734404091" sldId="1558"/>
            <ac:spMk id="5" creationId="{397C606E-5914-44B6-B824-605227ABE6D6}"/>
          </ac:spMkLst>
        </pc:spChg>
        <pc:graphicFrameChg chg="mod">
          <ac:chgData name="Michael Bailit" userId="6e5c4604-85bf-41ef-8e97-4724b7d56589" providerId="ADAL" clId="{83774557-9449-4090-8E14-8380B2278611}" dt="2020-12-29T14:26:56.047" v="2130" actId="1076"/>
          <ac:graphicFrameMkLst>
            <pc:docMk/>
            <pc:sldMk cId="3734404091" sldId="1558"/>
            <ac:graphicFrameMk id="4" creationId="{BB9604F7-FACF-455A-91B5-589A40818C5A}"/>
          </ac:graphicFrameMkLst>
        </pc:graphicFrameChg>
      </pc:sldChg>
      <pc:sldChg chg="modSp mod">
        <pc:chgData name="Michael Bailit" userId="6e5c4604-85bf-41ef-8e97-4724b7d56589" providerId="ADAL" clId="{83774557-9449-4090-8E14-8380B2278611}" dt="2021-01-14T02:05:16.427" v="3191" actId="20577"/>
        <pc:sldMkLst>
          <pc:docMk/>
          <pc:sldMk cId="3458141779" sldId="1559"/>
        </pc:sldMkLst>
        <pc:spChg chg="mod">
          <ac:chgData name="Michael Bailit" userId="6e5c4604-85bf-41ef-8e97-4724b7d56589" providerId="ADAL" clId="{83774557-9449-4090-8E14-8380B2278611}" dt="2020-12-29T15:01:53.089" v="2151" actId="1076"/>
          <ac:spMkLst>
            <pc:docMk/>
            <pc:sldMk cId="3458141779" sldId="1559"/>
            <ac:spMk id="3" creationId="{B1F87A56-3285-480B-BDDF-91B814DF3C0E}"/>
          </ac:spMkLst>
        </pc:spChg>
        <pc:spChg chg="mod">
          <ac:chgData name="Michael Bailit" userId="6e5c4604-85bf-41ef-8e97-4724b7d56589" providerId="ADAL" clId="{83774557-9449-4090-8E14-8380B2278611}" dt="2020-12-29T15:02:01.749" v="2153" actId="1076"/>
          <ac:spMkLst>
            <pc:docMk/>
            <pc:sldMk cId="3458141779" sldId="1559"/>
            <ac:spMk id="6" creationId="{8993D53C-819E-4CB9-98A8-41A818536FBE}"/>
          </ac:spMkLst>
        </pc:spChg>
        <pc:graphicFrameChg chg="mod modGraphic">
          <ac:chgData name="Michael Bailit" userId="6e5c4604-85bf-41ef-8e97-4724b7d56589" providerId="ADAL" clId="{83774557-9449-4090-8E14-8380B2278611}" dt="2020-12-29T15:01:58.238" v="2152" actId="1076"/>
          <ac:graphicFrameMkLst>
            <pc:docMk/>
            <pc:sldMk cId="3458141779" sldId="1559"/>
            <ac:graphicFrameMk id="4" creationId="{53CE6FFE-FB19-4DD7-B932-229FD7FEDB6A}"/>
          </ac:graphicFrameMkLst>
        </pc:graphicFrameChg>
        <pc:graphicFrameChg chg="modGraphic">
          <ac:chgData name="Michael Bailit" userId="6e5c4604-85bf-41ef-8e97-4724b7d56589" providerId="ADAL" clId="{83774557-9449-4090-8E14-8380B2278611}" dt="2021-01-14T02:05:16.427" v="3191" actId="20577"/>
          <ac:graphicFrameMkLst>
            <pc:docMk/>
            <pc:sldMk cId="3458141779" sldId="1559"/>
            <ac:graphicFrameMk id="7" creationId="{E2B1A5E9-849D-4E57-ABDB-A33E59E7EAD4}"/>
          </ac:graphicFrameMkLst>
        </pc:graphicFrameChg>
      </pc:sldChg>
      <pc:sldChg chg="modSp mod addCm modCm">
        <pc:chgData name="Michael Bailit" userId="6e5c4604-85bf-41ef-8e97-4724b7d56589" providerId="ADAL" clId="{83774557-9449-4090-8E14-8380B2278611}" dt="2021-01-14T02:05:24.351" v="3193" actId="20577"/>
        <pc:sldMkLst>
          <pc:docMk/>
          <pc:sldMk cId="1029816514" sldId="1560"/>
        </pc:sldMkLst>
        <pc:spChg chg="mod">
          <ac:chgData name="Michael Bailit" userId="6e5c4604-85bf-41ef-8e97-4724b7d56589" providerId="ADAL" clId="{83774557-9449-4090-8E14-8380B2278611}" dt="2021-01-07T01:54:26.519" v="2693" actId="948"/>
          <ac:spMkLst>
            <pc:docMk/>
            <pc:sldMk cId="1029816514" sldId="1560"/>
            <ac:spMk id="3" creationId="{8542BB72-165F-4654-BAE1-53456FF0020F}"/>
          </ac:spMkLst>
        </pc:spChg>
        <pc:spChg chg="mod">
          <ac:chgData name="Michael Bailit" userId="6e5c4604-85bf-41ef-8e97-4724b7d56589" providerId="ADAL" clId="{83774557-9449-4090-8E14-8380B2278611}" dt="2020-12-29T15:04:17.164" v="2219" actId="1076"/>
          <ac:spMkLst>
            <pc:docMk/>
            <pc:sldMk cId="1029816514" sldId="1560"/>
            <ac:spMk id="5" creationId="{F813F9B4-8FDB-4A4F-AE9D-C7C2D1E01383}"/>
          </ac:spMkLst>
        </pc:spChg>
        <pc:graphicFrameChg chg="mod">
          <ac:chgData name="Michael Bailit" userId="6e5c4604-85bf-41ef-8e97-4724b7d56589" providerId="ADAL" clId="{83774557-9449-4090-8E14-8380B2278611}" dt="2020-12-29T15:04:13.853" v="2218" actId="1076"/>
          <ac:graphicFrameMkLst>
            <pc:docMk/>
            <pc:sldMk cId="1029816514" sldId="1560"/>
            <ac:graphicFrameMk id="4" creationId="{888A20E8-5A16-48A7-993D-5DDB8B1F1B7F}"/>
          </ac:graphicFrameMkLst>
        </pc:graphicFrameChg>
        <pc:graphicFrameChg chg="modGraphic">
          <ac:chgData name="Michael Bailit" userId="6e5c4604-85bf-41ef-8e97-4724b7d56589" providerId="ADAL" clId="{83774557-9449-4090-8E14-8380B2278611}" dt="2021-01-14T02:05:24.351" v="3193" actId="20577"/>
          <ac:graphicFrameMkLst>
            <pc:docMk/>
            <pc:sldMk cId="1029816514" sldId="1560"/>
            <ac:graphicFrameMk id="6" creationId="{678FD964-803E-4113-8D5E-7B81B4EF9FCA}"/>
          </ac:graphicFrameMkLst>
        </pc:graphicFrameChg>
      </pc:sldChg>
      <pc:sldChg chg="modSp mod addCm modCm">
        <pc:chgData name="Michael Bailit" userId="6e5c4604-85bf-41ef-8e97-4724b7d56589" providerId="ADAL" clId="{83774557-9449-4090-8E14-8380B2278611}" dt="2021-01-14T02:05:37.693" v="3194" actId="255"/>
        <pc:sldMkLst>
          <pc:docMk/>
          <pc:sldMk cId="3898553200" sldId="1561"/>
        </pc:sldMkLst>
        <pc:spChg chg="mod">
          <ac:chgData name="Michael Bailit" userId="6e5c4604-85bf-41ef-8e97-4724b7d56589" providerId="ADAL" clId="{83774557-9449-4090-8E14-8380B2278611}" dt="2021-01-07T01:55:35.803" v="2701" actId="1076"/>
          <ac:spMkLst>
            <pc:docMk/>
            <pc:sldMk cId="3898553200" sldId="1561"/>
            <ac:spMk id="3" creationId="{7F1AD638-E3A5-4B16-89B0-224512DE9C97}"/>
          </ac:spMkLst>
        </pc:spChg>
        <pc:spChg chg="mod">
          <ac:chgData name="Michael Bailit" userId="6e5c4604-85bf-41ef-8e97-4724b7d56589" providerId="ADAL" clId="{83774557-9449-4090-8E14-8380B2278611}" dt="2020-12-29T15:06:00.855" v="2232" actId="1076"/>
          <ac:spMkLst>
            <pc:docMk/>
            <pc:sldMk cId="3898553200" sldId="1561"/>
            <ac:spMk id="5" creationId="{89D64620-F06C-402B-B546-DDB37B0A3A4D}"/>
          </ac:spMkLst>
        </pc:spChg>
        <pc:graphicFrameChg chg="modGraphic">
          <ac:chgData name="Michael Bailit" userId="6e5c4604-85bf-41ef-8e97-4724b7d56589" providerId="ADAL" clId="{83774557-9449-4090-8E14-8380B2278611}" dt="2021-01-14T02:05:37.693" v="3194" actId="255"/>
          <ac:graphicFrameMkLst>
            <pc:docMk/>
            <pc:sldMk cId="3898553200" sldId="1561"/>
            <ac:graphicFrameMk id="4" creationId="{EB50415A-2F01-42DD-A9F1-F7849963CB18}"/>
          </ac:graphicFrameMkLst>
        </pc:graphicFrameChg>
      </pc:sldChg>
      <pc:sldChg chg="modSp mod addCm modCm">
        <pc:chgData name="Michael Bailit" userId="6e5c4604-85bf-41ef-8e97-4724b7d56589" providerId="ADAL" clId="{83774557-9449-4090-8E14-8380B2278611}" dt="2021-01-14T02:06:00.319" v="3200" actId="20577"/>
        <pc:sldMkLst>
          <pc:docMk/>
          <pc:sldMk cId="827770974" sldId="1562"/>
        </pc:sldMkLst>
        <pc:spChg chg="mod">
          <ac:chgData name="Michael Bailit" userId="6e5c4604-85bf-41ef-8e97-4724b7d56589" providerId="ADAL" clId="{83774557-9449-4090-8E14-8380B2278611}" dt="2021-01-07T01:55:54.417" v="2702" actId="255"/>
          <ac:spMkLst>
            <pc:docMk/>
            <pc:sldMk cId="827770974" sldId="1562"/>
            <ac:spMk id="3" creationId="{233E5769-1521-4683-8C73-366E7264BFF1}"/>
          </ac:spMkLst>
        </pc:spChg>
        <pc:spChg chg="mod">
          <ac:chgData name="Michael Bailit" userId="6e5c4604-85bf-41ef-8e97-4724b7d56589" providerId="ADAL" clId="{83774557-9449-4090-8E14-8380B2278611}" dt="2020-12-29T15:11:01.133" v="2278" actId="1076"/>
          <ac:spMkLst>
            <pc:docMk/>
            <pc:sldMk cId="827770974" sldId="1562"/>
            <ac:spMk id="5" creationId="{5861E71E-0DD8-4FA0-BDB4-F9B8C68E0A9E}"/>
          </ac:spMkLst>
        </pc:spChg>
        <pc:graphicFrameChg chg="mod">
          <ac:chgData name="Michael Bailit" userId="6e5c4604-85bf-41ef-8e97-4724b7d56589" providerId="ADAL" clId="{83774557-9449-4090-8E14-8380B2278611}" dt="2020-12-29T15:10:02.324" v="2272" actId="1076"/>
          <ac:graphicFrameMkLst>
            <pc:docMk/>
            <pc:sldMk cId="827770974" sldId="1562"/>
            <ac:graphicFrameMk id="4" creationId="{90AFF0BF-F089-4EBE-A7EA-06D72A80AE11}"/>
          </ac:graphicFrameMkLst>
        </pc:graphicFrameChg>
        <pc:graphicFrameChg chg="modGraphic">
          <ac:chgData name="Michael Bailit" userId="6e5c4604-85bf-41ef-8e97-4724b7d56589" providerId="ADAL" clId="{83774557-9449-4090-8E14-8380B2278611}" dt="2021-01-14T02:06:00.319" v="3200" actId="20577"/>
          <ac:graphicFrameMkLst>
            <pc:docMk/>
            <pc:sldMk cId="827770974" sldId="1562"/>
            <ac:graphicFrameMk id="6" creationId="{94CFF6CF-D99D-4A46-BFD4-6624899CD79E}"/>
          </ac:graphicFrameMkLst>
        </pc:graphicFrameChg>
      </pc:sldChg>
      <pc:sldChg chg="modSp mod">
        <pc:chgData name="Michael Bailit" userId="6e5c4604-85bf-41ef-8e97-4724b7d56589" providerId="ADAL" clId="{83774557-9449-4090-8E14-8380B2278611}" dt="2021-01-14T02:06:09.801" v="3204" actId="20577"/>
        <pc:sldMkLst>
          <pc:docMk/>
          <pc:sldMk cId="1694219525" sldId="1563"/>
        </pc:sldMkLst>
        <pc:spChg chg="mod">
          <ac:chgData name="Michael Bailit" userId="6e5c4604-85bf-41ef-8e97-4724b7d56589" providerId="ADAL" clId="{83774557-9449-4090-8E14-8380B2278611}" dt="2021-01-07T01:56:48.350" v="2720" actId="14100"/>
          <ac:spMkLst>
            <pc:docMk/>
            <pc:sldMk cId="1694219525" sldId="1563"/>
            <ac:spMk id="3" creationId="{1FEC2D7E-85C8-47AD-97CD-AE676F031E8B}"/>
          </ac:spMkLst>
        </pc:spChg>
        <pc:spChg chg="mod">
          <ac:chgData name="Michael Bailit" userId="6e5c4604-85bf-41ef-8e97-4724b7d56589" providerId="ADAL" clId="{83774557-9449-4090-8E14-8380B2278611}" dt="2020-12-29T15:13:45.010" v="2355" actId="1076"/>
          <ac:spMkLst>
            <pc:docMk/>
            <pc:sldMk cId="1694219525" sldId="1563"/>
            <ac:spMk id="6" creationId="{40800BA6-1E07-4BEC-BE51-74688EF406A8}"/>
          </ac:spMkLst>
        </pc:spChg>
        <pc:graphicFrameChg chg="mod">
          <ac:chgData name="Michael Bailit" userId="6e5c4604-85bf-41ef-8e97-4724b7d56589" providerId="ADAL" clId="{83774557-9449-4090-8E14-8380B2278611}" dt="2020-12-29T15:13:41.828" v="2354" actId="1076"/>
          <ac:graphicFrameMkLst>
            <pc:docMk/>
            <pc:sldMk cId="1694219525" sldId="1563"/>
            <ac:graphicFrameMk id="5" creationId="{B95F9419-7AF2-49F9-ADE8-9FECC79E5530}"/>
          </ac:graphicFrameMkLst>
        </pc:graphicFrameChg>
        <pc:graphicFrameChg chg="modGraphic">
          <ac:chgData name="Michael Bailit" userId="6e5c4604-85bf-41ef-8e97-4724b7d56589" providerId="ADAL" clId="{83774557-9449-4090-8E14-8380B2278611}" dt="2021-01-14T02:06:09.801" v="3204" actId="20577"/>
          <ac:graphicFrameMkLst>
            <pc:docMk/>
            <pc:sldMk cId="1694219525" sldId="1563"/>
            <ac:graphicFrameMk id="7" creationId="{143FC385-7A2A-4399-BC02-F3A1A7EC62AA}"/>
          </ac:graphicFrameMkLst>
        </pc:graphicFrameChg>
      </pc:sldChg>
      <pc:sldChg chg="modSp mod">
        <pc:chgData name="Michael Bailit" userId="6e5c4604-85bf-41ef-8e97-4724b7d56589" providerId="ADAL" clId="{83774557-9449-4090-8E14-8380B2278611}" dt="2021-01-14T02:06:16.827" v="3206" actId="20577"/>
        <pc:sldMkLst>
          <pc:docMk/>
          <pc:sldMk cId="4083851932" sldId="1564"/>
        </pc:sldMkLst>
        <pc:spChg chg="mod">
          <ac:chgData name="Michael Bailit" userId="6e5c4604-85bf-41ef-8e97-4724b7d56589" providerId="ADAL" clId="{83774557-9449-4090-8E14-8380B2278611}" dt="2020-12-29T15:14:40.102" v="2356"/>
          <ac:spMkLst>
            <pc:docMk/>
            <pc:sldMk cId="4083851932" sldId="1564"/>
            <ac:spMk id="3" creationId="{B2428971-AF0B-449B-8DB9-9AED6BD99630}"/>
          </ac:spMkLst>
        </pc:spChg>
        <pc:graphicFrameChg chg="mod modGraphic">
          <ac:chgData name="Michael Bailit" userId="6e5c4604-85bf-41ef-8e97-4724b7d56589" providerId="ADAL" clId="{83774557-9449-4090-8E14-8380B2278611}" dt="2020-12-29T15:14:48.144" v="2358" actId="20577"/>
          <ac:graphicFrameMkLst>
            <pc:docMk/>
            <pc:sldMk cId="4083851932" sldId="1564"/>
            <ac:graphicFrameMk id="4" creationId="{7C7B30CC-7ED7-418D-B5B0-50740C992893}"/>
          </ac:graphicFrameMkLst>
        </pc:graphicFrameChg>
        <pc:graphicFrameChg chg="modGraphic">
          <ac:chgData name="Michael Bailit" userId="6e5c4604-85bf-41ef-8e97-4724b7d56589" providerId="ADAL" clId="{83774557-9449-4090-8E14-8380B2278611}" dt="2021-01-14T02:06:16.827" v="3206" actId="20577"/>
          <ac:graphicFrameMkLst>
            <pc:docMk/>
            <pc:sldMk cId="4083851932" sldId="1564"/>
            <ac:graphicFrameMk id="6" creationId="{8525918E-23CD-4D51-9877-9B1F8B979351}"/>
          </ac:graphicFrameMkLst>
        </pc:graphicFrameChg>
      </pc:sldChg>
      <pc:sldChg chg="modSp mod addCm modCm">
        <pc:chgData name="Michael Bailit" userId="6e5c4604-85bf-41ef-8e97-4724b7d56589" providerId="ADAL" clId="{83774557-9449-4090-8E14-8380B2278611}" dt="2021-01-19T13:41:08.661" v="3208" actId="12"/>
        <pc:sldMkLst>
          <pc:docMk/>
          <pc:sldMk cId="2718904717" sldId="1565"/>
        </pc:sldMkLst>
        <pc:spChg chg="mod">
          <ac:chgData name="Michael Bailit" userId="6e5c4604-85bf-41ef-8e97-4724b7d56589" providerId="ADAL" clId="{83774557-9449-4090-8E14-8380B2278611}" dt="2020-12-29T01:18:54.803" v="45" actId="20577"/>
          <ac:spMkLst>
            <pc:docMk/>
            <pc:sldMk cId="2718904717" sldId="1565"/>
            <ac:spMk id="2" creationId="{E08AA6FB-E19D-4112-8C5B-2F069C7E9193}"/>
          </ac:spMkLst>
        </pc:spChg>
        <pc:spChg chg="mod">
          <ac:chgData name="Michael Bailit" userId="6e5c4604-85bf-41ef-8e97-4724b7d56589" providerId="ADAL" clId="{83774557-9449-4090-8E14-8380B2278611}" dt="2021-01-19T13:41:08.661" v="3208" actId="12"/>
          <ac:spMkLst>
            <pc:docMk/>
            <pc:sldMk cId="2718904717" sldId="1565"/>
            <ac:spMk id="3" creationId="{D4A8534B-B70C-4A4F-900E-3C9058F5AD18}"/>
          </ac:spMkLst>
        </pc:spChg>
      </pc:sldChg>
      <pc:sldChg chg="del">
        <pc:chgData name="Michael Bailit" userId="6e5c4604-85bf-41ef-8e97-4724b7d56589" providerId="ADAL" clId="{83774557-9449-4090-8E14-8380B2278611}" dt="2020-12-29T01:09:02.919" v="14" actId="2696"/>
        <pc:sldMkLst>
          <pc:docMk/>
          <pc:sldMk cId="2304892868" sldId="1566"/>
        </pc:sldMkLst>
      </pc:sldChg>
      <pc:sldChg chg="modSp mod">
        <pc:chgData name="Michael Bailit" userId="6e5c4604-85bf-41ef-8e97-4724b7d56589" providerId="ADAL" clId="{83774557-9449-4090-8E14-8380B2278611}" dt="2020-12-29T01:28:45.375" v="307" actId="20577"/>
        <pc:sldMkLst>
          <pc:docMk/>
          <pc:sldMk cId="2486235592" sldId="1567"/>
        </pc:sldMkLst>
        <pc:spChg chg="mod">
          <ac:chgData name="Michael Bailit" userId="6e5c4604-85bf-41ef-8e97-4724b7d56589" providerId="ADAL" clId="{83774557-9449-4090-8E14-8380B2278611}" dt="2020-12-29T01:28:45.375" v="307" actId="20577"/>
          <ac:spMkLst>
            <pc:docMk/>
            <pc:sldMk cId="2486235592" sldId="1567"/>
            <ac:spMk id="2" creationId="{93978ECD-0ABA-4377-9AEF-9F34B3626A3D}"/>
          </ac:spMkLst>
        </pc:spChg>
      </pc:sldChg>
      <pc:sldChg chg="modSp mod">
        <pc:chgData name="Michael Bailit" userId="6e5c4604-85bf-41ef-8e97-4724b7d56589" providerId="ADAL" clId="{83774557-9449-4090-8E14-8380B2278611}" dt="2020-12-29T14:13:13.050" v="1830" actId="20577"/>
        <pc:sldMkLst>
          <pc:docMk/>
          <pc:sldMk cId="2707757372" sldId="1568"/>
        </pc:sldMkLst>
        <pc:spChg chg="mod">
          <ac:chgData name="Michael Bailit" userId="6e5c4604-85bf-41ef-8e97-4724b7d56589" providerId="ADAL" clId="{83774557-9449-4090-8E14-8380B2278611}" dt="2020-12-29T14:13:13.050" v="1830" actId="20577"/>
          <ac:spMkLst>
            <pc:docMk/>
            <pc:sldMk cId="2707757372" sldId="1568"/>
            <ac:spMk id="3" creationId="{C459E275-C164-416D-AB74-FBFD0C47C667}"/>
          </ac:spMkLst>
        </pc:spChg>
        <pc:graphicFrameChg chg="mod modGraphic">
          <ac:chgData name="Michael Bailit" userId="6e5c4604-85bf-41ef-8e97-4724b7d56589" providerId="ADAL" clId="{83774557-9449-4090-8E14-8380B2278611}" dt="2020-12-29T14:13:06.528" v="1828" actId="1076"/>
          <ac:graphicFrameMkLst>
            <pc:docMk/>
            <pc:sldMk cId="2707757372" sldId="1568"/>
            <ac:graphicFrameMk id="6" creationId="{00C1D98E-05EB-40AF-885D-8B1317B40187}"/>
          </ac:graphicFrameMkLst>
        </pc:graphicFrameChg>
      </pc:sldChg>
      <pc:sldChg chg="modSp mod addCm modCm">
        <pc:chgData name="Michael Bailit" userId="6e5c4604-85bf-41ef-8e97-4724b7d56589" providerId="ADAL" clId="{83774557-9449-4090-8E14-8380B2278611}" dt="2020-12-29T15:18:05.740" v="2395"/>
        <pc:sldMkLst>
          <pc:docMk/>
          <pc:sldMk cId="2907942846" sldId="1569"/>
        </pc:sldMkLst>
        <pc:graphicFrameChg chg="modGraphic">
          <ac:chgData name="Michael Bailit" userId="6e5c4604-85bf-41ef-8e97-4724b7d56589" providerId="ADAL" clId="{83774557-9449-4090-8E14-8380B2278611}" dt="2020-12-29T15:16:13.219" v="2367" actId="20577"/>
          <ac:graphicFrameMkLst>
            <pc:docMk/>
            <pc:sldMk cId="2907942846" sldId="1569"/>
            <ac:graphicFrameMk id="4" creationId="{C0FF9058-F080-4048-BC3C-7471FCA612D2}"/>
          </ac:graphicFrameMkLst>
        </pc:graphicFrameChg>
      </pc:sldChg>
      <pc:sldChg chg="modSp add mod">
        <pc:chgData name="Michael Bailit" userId="6e5c4604-85bf-41ef-8e97-4724b7d56589" providerId="ADAL" clId="{83774557-9449-4090-8E14-8380B2278611}" dt="2020-12-29T01:29:13.073" v="355" actId="20577"/>
        <pc:sldMkLst>
          <pc:docMk/>
          <pc:sldMk cId="1671029400" sldId="1571"/>
        </pc:sldMkLst>
        <pc:spChg chg="mod">
          <ac:chgData name="Michael Bailit" userId="6e5c4604-85bf-41ef-8e97-4724b7d56589" providerId="ADAL" clId="{83774557-9449-4090-8E14-8380B2278611}" dt="2020-12-29T01:29:13.073" v="355" actId="20577"/>
          <ac:spMkLst>
            <pc:docMk/>
            <pc:sldMk cId="1671029400" sldId="1571"/>
            <ac:spMk id="3" creationId="{8E396B14-F9D7-4ACC-AED3-6E88E76396F5}"/>
          </ac:spMkLst>
        </pc:spChg>
        <pc:spChg chg="mod">
          <ac:chgData name="Michael Bailit" userId="6e5c4604-85bf-41ef-8e97-4724b7d56589" providerId="ADAL" clId="{83774557-9449-4090-8E14-8380B2278611}" dt="2020-12-29T01:09:08.316" v="15" actId="1076"/>
          <ac:spMkLst>
            <pc:docMk/>
            <pc:sldMk cId="1671029400" sldId="1571"/>
            <ac:spMk id="5" creationId="{D3915D3D-656E-48AA-8D63-358A7E5AA453}"/>
          </ac:spMkLst>
        </pc:spChg>
      </pc:sldChg>
      <pc:sldChg chg="modSp add mod">
        <pc:chgData name="Michael Bailit" userId="6e5c4604-85bf-41ef-8e97-4724b7d56589" providerId="ADAL" clId="{83774557-9449-4090-8E14-8380B2278611}" dt="2020-12-29T15:18:28.464" v="2397" actId="1076"/>
        <pc:sldMkLst>
          <pc:docMk/>
          <pc:sldMk cId="1448637860" sldId="1572"/>
        </pc:sldMkLst>
        <pc:spChg chg="mod">
          <ac:chgData name="Michael Bailit" userId="6e5c4604-85bf-41ef-8e97-4724b7d56589" providerId="ADAL" clId="{83774557-9449-4090-8E14-8380B2278611}" dt="2020-12-29T15:18:28.464" v="2397" actId="1076"/>
          <ac:spMkLst>
            <pc:docMk/>
            <pc:sldMk cId="1448637860" sldId="1572"/>
            <ac:spMk id="5" creationId="{D3915D3D-656E-48AA-8D63-358A7E5AA453}"/>
          </ac:spMkLst>
        </pc:spChg>
      </pc:sldChg>
      <pc:sldChg chg="modSp mod">
        <pc:chgData name="Michael Bailit" userId="6e5c4604-85bf-41ef-8e97-4724b7d56589" providerId="ADAL" clId="{83774557-9449-4090-8E14-8380B2278611}" dt="2021-01-19T13:43:50.710" v="3271" actId="1076"/>
        <pc:sldMkLst>
          <pc:docMk/>
          <pc:sldMk cId="2458203957" sldId="1573"/>
        </pc:sldMkLst>
        <pc:spChg chg="mod">
          <ac:chgData name="Michael Bailit" userId="6e5c4604-85bf-41ef-8e97-4724b7d56589" providerId="ADAL" clId="{83774557-9449-4090-8E14-8380B2278611}" dt="2021-01-19T13:43:50.710" v="3271" actId="1076"/>
          <ac:spMkLst>
            <pc:docMk/>
            <pc:sldMk cId="2458203957" sldId="1573"/>
            <ac:spMk id="3" creationId="{C1ACF851-F1A0-47BB-B553-CF914E9CC80C}"/>
          </ac:spMkLst>
        </pc:spChg>
      </pc:sldChg>
      <pc:sldChg chg="delSp mod">
        <pc:chgData name="Michael Bailit" userId="6e5c4604-85bf-41ef-8e97-4724b7d56589" providerId="ADAL" clId="{83774557-9449-4090-8E14-8380B2278611}" dt="2021-01-14T02:06:34.082" v="3207" actId="21"/>
        <pc:sldMkLst>
          <pc:docMk/>
          <pc:sldMk cId="3372783944" sldId="4042"/>
        </pc:sldMkLst>
        <pc:spChg chg="del">
          <ac:chgData name="Michael Bailit" userId="6e5c4604-85bf-41ef-8e97-4724b7d56589" providerId="ADAL" clId="{83774557-9449-4090-8E14-8380B2278611}" dt="2021-01-14T02:06:34.082" v="3207" actId="21"/>
          <ac:spMkLst>
            <pc:docMk/>
            <pc:sldMk cId="3372783944" sldId="4042"/>
            <ac:spMk id="3" creationId="{7D2922C6-ABBE-4C31-9543-588CDA06FDD2}"/>
          </ac:spMkLst>
        </pc:spChg>
      </pc:sldChg>
      <pc:sldChg chg="modSp mod">
        <pc:chgData name="Michael Bailit" userId="6e5c4604-85bf-41ef-8e97-4724b7d56589" providerId="ADAL" clId="{83774557-9449-4090-8E14-8380B2278611}" dt="2021-01-14T01:55:28.331" v="3120" actId="20577"/>
        <pc:sldMkLst>
          <pc:docMk/>
          <pc:sldMk cId="615465991" sldId="4043"/>
        </pc:sldMkLst>
        <pc:spChg chg="mod">
          <ac:chgData name="Michael Bailit" userId="6e5c4604-85bf-41ef-8e97-4724b7d56589" providerId="ADAL" clId="{83774557-9449-4090-8E14-8380B2278611}" dt="2021-01-14T01:54:18.420" v="2883" actId="20577"/>
          <ac:spMkLst>
            <pc:docMk/>
            <pc:sldMk cId="615465991" sldId="4043"/>
            <ac:spMk id="3" creationId="{20D717F3-CC3C-4396-804C-898E479BBE36}"/>
          </ac:spMkLst>
        </pc:spChg>
        <pc:spChg chg="mod">
          <ac:chgData name="Michael Bailit" userId="6e5c4604-85bf-41ef-8e97-4724b7d56589" providerId="ADAL" clId="{83774557-9449-4090-8E14-8380B2278611}" dt="2021-01-14T01:55:28.331" v="3120" actId="20577"/>
          <ac:spMkLst>
            <pc:docMk/>
            <pc:sldMk cId="615465991" sldId="4043"/>
            <ac:spMk id="5" creationId="{B866DE37-4BC2-4C75-BFC2-1B44143743EA}"/>
          </ac:spMkLst>
        </pc:spChg>
      </pc:sldChg>
    </pc:docChg>
  </pc:docChgLst>
  <pc:docChgLst>
    <pc:chgData name="Stacey Yi" userId="736affbd-34d5-4375-befe-882681e433d4" providerId="ADAL" clId="{C174D987-FF03-4492-A128-1FDDF419AD2D}"/>
    <pc:docChg chg="undo custSel addSld delSld modSld">
      <pc:chgData name="Stacey Yi" userId="736affbd-34d5-4375-befe-882681e433d4" providerId="ADAL" clId="{C174D987-FF03-4492-A128-1FDDF419AD2D}" dt="2021-01-13T08:44:45.885" v="9690" actId="1036"/>
      <pc:docMkLst>
        <pc:docMk/>
      </pc:docMkLst>
      <pc:sldChg chg="modSp mod">
        <pc:chgData name="Stacey Yi" userId="736affbd-34d5-4375-befe-882681e433d4" providerId="ADAL" clId="{C174D987-FF03-4492-A128-1FDDF419AD2D}" dt="2021-01-11T20:16:36.596" v="36" actId="242"/>
        <pc:sldMkLst>
          <pc:docMk/>
          <pc:sldMk cId="1714805313" sldId="1533"/>
        </pc:sldMkLst>
        <pc:graphicFrameChg chg="modGraphic">
          <ac:chgData name="Stacey Yi" userId="736affbd-34d5-4375-befe-882681e433d4" providerId="ADAL" clId="{C174D987-FF03-4492-A128-1FDDF419AD2D}" dt="2021-01-11T20:16:36.596" v="36" actId="242"/>
          <ac:graphicFrameMkLst>
            <pc:docMk/>
            <pc:sldMk cId="1714805313" sldId="1533"/>
            <ac:graphicFrameMk id="5" creationId="{E4C10673-4BAC-49CF-82BA-8FFE601189D8}"/>
          </ac:graphicFrameMkLst>
        </pc:graphicFrameChg>
        <pc:graphicFrameChg chg="mod modGraphic">
          <ac:chgData name="Stacey Yi" userId="736affbd-34d5-4375-befe-882681e433d4" providerId="ADAL" clId="{C174D987-FF03-4492-A128-1FDDF419AD2D}" dt="2021-01-11T20:16:14.973" v="35" actId="14100"/>
          <ac:graphicFrameMkLst>
            <pc:docMk/>
            <pc:sldMk cId="1714805313" sldId="1533"/>
            <ac:graphicFrameMk id="6" creationId="{7C95FCEF-E981-4708-9624-6A63751EF387}"/>
          </ac:graphicFrameMkLst>
        </pc:graphicFrameChg>
      </pc:sldChg>
      <pc:sldChg chg="modSp mod">
        <pc:chgData name="Stacey Yi" userId="736affbd-34d5-4375-befe-882681e433d4" providerId="ADAL" clId="{C174D987-FF03-4492-A128-1FDDF419AD2D}" dt="2021-01-11T20:15:55.510" v="32" actId="14100"/>
        <pc:sldMkLst>
          <pc:docMk/>
          <pc:sldMk cId="320089514" sldId="1535"/>
        </pc:sldMkLst>
        <pc:spChg chg="mod">
          <ac:chgData name="Stacey Yi" userId="736affbd-34d5-4375-befe-882681e433d4" providerId="ADAL" clId="{C174D987-FF03-4492-A128-1FDDF419AD2D}" dt="2021-01-11T20:12:06.841" v="5" actId="1076"/>
          <ac:spMkLst>
            <pc:docMk/>
            <pc:sldMk cId="320089514" sldId="1535"/>
            <ac:spMk id="3" creationId="{7E370310-B488-4FF4-BF5D-E8CC64C193E7}"/>
          </ac:spMkLst>
        </pc:spChg>
        <pc:graphicFrameChg chg="modGraphic">
          <ac:chgData name="Stacey Yi" userId="736affbd-34d5-4375-befe-882681e433d4" providerId="ADAL" clId="{C174D987-FF03-4492-A128-1FDDF419AD2D}" dt="2021-01-11T20:15:36.236" v="27" actId="242"/>
          <ac:graphicFrameMkLst>
            <pc:docMk/>
            <pc:sldMk cId="320089514" sldId="1535"/>
            <ac:graphicFrameMk id="4" creationId="{616908FC-206A-45E1-A5F8-62E2204ACA15}"/>
          </ac:graphicFrameMkLst>
        </pc:graphicFrameChg>
        <pc:graphicFrameChg chg="modGraphic">
          <ac:chgData name="Stacey Yi" userId="736affbd-34d5-4375-befe-882681e433d4" providerId="ADAL" clId="{C174D987-FF03-4492-A128-1FDDF419AD2D}" dt="2021-01-11T20:15:55.510" v="32" actId="14100"/>
          <ac:graphicFrameMkLst>
            <pc:docMk/>
            <pc:sldMk cId="320089514" sldId="1535"/>
            <ac:graphicFrameMk id="8" creationId="{3A6FF290-E8BB-44D9-AF19-8BEBDF545217}"/>
          </ac:graphicFrameMkLst>
        </pc:graphicFrameChg>
      </pc:sldChg>
      <pc:sldChg chg="modSp mod">
        <pc:chgData name="Stacey Yi" userId="736affbd-34d5-4375-befe-882681e433d4" providerId="ADAL" clId="{C174D987-FF03-4492-A128-1FDDF419AD2D}" dt="2021-01-13T08:44:45.885" v="9690" actId="1036"/>
        <pc:sldMkLst>
          <pc:docMk/>
          <pc:sldMk cId="3696934096" sldId="1536"/>
        </pc:sldMkLst>
        <pc:spChg chg="mod">
          <ac:chgData name="Stacey Yi" userId="736affbd-34d5-4375-befe-882681e433d4" providerId="ADAL" clId="{C174D987-FF03-4492-A128-1FDDF419AD2D}" dt="2021-01-11T20:13:38.852" v="17" actId="1076"/>
          <ac:spMkLst>
            <pc:docMk/>
            <pc:sldMk cId="3696934096" sldId="1536"/>
            <ac:spMk id="7" creationId="{AA7FC5F5-FEBB-4BE3-960C-DD2403AF5409}"/>
          </ac:spMkLst>
        </pc:spChg>
        <pc:graphicFrameChg chg="mod modGraphic">
          <ac:chgData name="Stacey Yi" userId="736affbd-34d5-4375-befe-882681e433d4" providerId="ADAL" clId="{C174D987-FF03-4492-A128-1FDDF419AD2D}" dt="2021-01-11T20:20:57.429" v="101" actId="1036"/>
          <ac:graphicFrameMkLst>
            <pc:docMk/>
            <pc:sldMk cId="3696934096" sldId="1536"/>
            <ac:graphicFrameMk id="4" creationId="{A07F81A8-3F21-4AF1-BE99-52434C3FE90E}"/>
          </ac:graphicFrameMkLst>
        </pc:graphicFrameChg>
        <pc:graphicFrameChg chg="mod modGraphic">
          <ac:chgData name="Stacey Yi" userId="736affbd-34d5-4375-befe-882681e433d4" providerId="ADAL" clId="{C174D987-FF03-4492-A128-1FDDF419AD2D}" dt="2021-01-13T08:44:45.885" v="9690" actId="1036"/>
          <ac:graphicFrameMkLst>
            <pc:docMk/>
            <pc:sldMk cId="3696934096" sldId="1536"/>
            <ac:graphicFrameMk id="6" creationId="{3841D5C1-C544-49BB-A64D-7CDBFF990E5E}"/>
          </ac:graphicFrameMkLst>
        </pc:graphicFrameChg>
      </pc:sldChg>
      <pc:sldChg chg="addSp delSp modSp mod">
        <pc:chgData name="Stacey Yi" userId="736affbd-34d5-4375-befe-882681e433d4" providerId="ADAL" clId="{C174D987-FF03-4492-A128-1FDDF419AD2D}" dt="2021-01-12T22:33:06.738" v="1473" actId="1038"/>
        <pc:sldMkLst>
          <pc:docMk/>
          <pc:sldMk cId="1420463798" sldId="1537"/>
        </pc:sldMkLst>
        <pc:spChg chg="del mod">
          <ac:chgData name="Stacey Yi" userId="736affbd-34d5-4375-befe-882681e433d4" providerId="ADAL" clId="{C174D987-FF03-4492-A128-1FDDF419AD2D}" dt="2021-01-12T22:27:08.942" v="1291" actId="478"/>
          <ac:spMkLst>
            <pc:docMk/>
            <pc:sldMk cId="1420463798" sldId="1537"/>
            <ac:spMk id="3" creationId="{99F10C82-2500-4B24-974C-7D4072BD1F06}"/>
          </ac:spMkLst>
        </pc:spChg>
        <pc:spChg chg="del mod">
          <ac:chgData name="Stacey Yi" userId="736affbd-34d5-4375-befe-882681e433d4" providerId="ADAL" clId="{C174D987-FF03-4492-A128-1FDDF419AD2D}" dt="2021-01-12T22:32:50.007" v="1461" actId="478"/>
          <ac:spMkLst>
            <pc:docMk/>
            <pc:sldMk cId="1420463798" sldId="1537"/>
            <ac:spMk id="5" creationId="{2BAB1D98-85D7-4F26-B9A3-C416A420488B}"/>
          </ac:spMkLst>
        </pc:spChg>
        <pc:spChg chg="mod">
          <ac:chgData name="Stacey Yi" userId="736affbd-34d5-4375-befe-882681e433d4" providerId="ADAL" clId="{C174D987-FF03-4492-A128-1FDDF419AD2D}" dt="2021-01-12T22:33:06.738" v="1473" actId="1038"/>
          <ac:spMkLst>
            <pc:docMk/>
            <pc:sldMk cId="1420463798" sldId="1537"/>
            <ac:spMk id="6" creationId="{ED32B722-701F-4172-B87F-43D9DCD0FC04}"/>
          </ac:spMkLst>
        </pc:spChg>
        <pc:spChg chg="add mod">
          <ac:chgData name="Stacey Yi" userId="736affbd-34d5-4375-befe-882681e433d4" providerId="ADAL" clId="{C174D987-FF03-4492-A128-1FDDF419AD2D}" dt="2021-01-11T20:14:14.269" v="18"/>
          <ac:spMkLst>
            <pc:docMk/>
            <pc:sldMk cId="1420463798" sldId="1537"/>
            <ac:spMk id="7" creationId="{470E137D-0541-4AC6-9418-EA0F3D8802BA}"/>
          </ac:spMkLst>
        </pc:spChg>
        <pc:spChg chg="add del mod">
          <ac:chgData name="Stacey Yi" userId="736affbd-34d5-4375-befe-882681e433d4" providerId="ADAL" clId="{C174D987-FF03-4492-A128-1FDDF419AD2D}" dt="2021-01-12T22:27:12.466" v="1292" actId="478"/>
          <ac:spMkLst>
            <pc:docMk/>
            <pc:sldMk cId="1420463798" sldId="1537"/>
            <ac:spMk id="10" creationId="{62DDC278-3726-49D7-B9FF-B2EDA38D82B7}"/>
          </ac:spMkLst>
        </pc:spChg>
        <pc:graphicFrameChg chg="mod modGraphic">
          <ac:chgData name="Stacey Yi" userId="736affbd-34d5-4375-befe-882681e433d4" providerId="ADAL" clId="{C174D987-FF03-4492-A128-1FDDF419AD2D}" dt="2021-01-11T20:51:58.983" v="708" actId="14100"/>
          <ac:graphicFrameMkLst>
            <pc:docMk/>
            <pc:sldMk cId="1420463798" sldId="1537"/>
            <ac:graphicFrameMk id="4" creationId="{E95FDC7E-37CF-471F-8625-B1FDD8112C17}"/>
          </ac:graphicFrameMkLst>
        </pc:graphicFrameChg>
        <pc:graphicFrameChg chg="add mod modGraphic">
          <ac:chgData name="Stacey Yi" userId="736affbd-34d5-4375-befe-882681e433d4" providerId="ADAL" clId="{C174D987-FF03-4492-A128-1FDDF419AD2D}" dt="2021-01-12T22:26:51.659" v="1290"/>
          <ac:graphicFrameMkLst>
            <pc:docMk/>
            <pc:sldMk cId="1420463798" sldId="1537"/>
            <ac:graphicFrameMk id="8" creationId="{F1B896E5-96F3-4E80-BA33-7043A1B12744}"/>
          </ac:graphicFrameMkLst>
        </pc:graphicFrameChg>
      </pc:sldChg>
      <pc:sldChg chg="addSp delSp modSp mod addCm modCm">
        <pc:chgData name="Stacey Yi" userId="736affbd-34d5-4375-befe-882681e433d4" providerId="ADAL" clId="{C174D987-FF03-4492-A128-1FDDF419AD2D}" dt="2021-01-12T22:36:29.996" v="1744" actId="14100"/>
        <pc:sldMkLst>
          <pc:docMk/>
          <pc:sldMk cId="1504907557" sldId="1538"/>
        </pc:sldMkLst>
        <pc:spChg chg="del mod">
          <ac:chgData name="Stacey Yi" userId="736affbd-34d5-4375-befe-882681e433d4" providerId="ADAL" clId="{C174D987-FF03-4492-A128-1FDDF419AD2D}" dt="2021-01-12T22:36:05.533" v="1730" actId="478"/>
          <ac:spMkLst>
            <pc:docMk/>
            <pc:sldMk cId="1504907557" sldId="1538"/>
            <ac:spMk id="3" creationId="{3B8E3DF3-91B7-4AF5-AA14-3CC7A121023B}"/>
          </ac:spMkLst>
        </pc:spChg>
        <pc:spChg chg="del">
          <ac:chgData name="Stacey Yi" userId="736affbd-34d5-4375-befe-882681e433d4" providerId="ADAL" clId="{C174D987-FF03-4492-A128-1FDDF419AD2D}" dt="2021-01-12T22:36:17.862" v="1732" actId="478"/>
          <ac:spMkLst>
            <pc:docMk/>
            <pc:sldMk cId="1504907557" sldId="1538"/>
            <ac:spMk id="6" creationId="{7F8A204F-7635-48D7-BFC6-F39157A3405D}"/>
          </ac:spMkLst>
        </pc:spChg>
        <pc:spChg chg="add del mod">
          <ac:chgData name="Stacey Yi" userId="736affbd-34d5-4375-befe-882681e433d4" providerId="ADAL" clId="{C174D987-FF03-4492-A128-1FDDF419AD2D}" dt="2021-01-12T22:36:12.050" v="1731" actId="478"/>
          <ac:spMkLst>
            <pc:docMk/>
            <pc:sldMk cId="1504907557" sldId="1538"/>
            <ac:spMk id="8" creationId="{DFECD764-1DEE-488D-A94E-C89E337FFF64}"/>
          </ac:spMkLst>
        </pc:spChg>
        <pc:graphicFrameChg chg="mod modGraphic">
          <ac:chgData name="Stacey Yi" userId="736affbd-34d5-4375-befe-882681e433d4" providerId="ADAL" clId="{C174D987-FF03-4492-A128-1FDDF419AD2D}" dt="2021-01-12T22:36:26.771" v="1743" actId="1036"/>
          <ac:graphicFrameMkLst>
            <pc:docMk/>
            <pc:sldMk cId="1504907557" sldId="1538"/>
            <ac:graphicFrameMk id="4" creationId="{62CB3356-088B-4FB8-A215-26A60AEC27A0}"/>
          </ac:graphicFrameMkLst>
        </pc:graphicFrameChg>
        <pc:graphicFrameChg chg="add mod modGraphic">
          <ac:chgData name="Stacey Yi" userId="736affbd-34d5-4375-befe-882681e433d4" providerId="ADAL" clId="{C174D987-FF03-4492-A128-1FDDF419AD2D}" dt="2021-01-12T22:36:29.996" v="1744" actId="14100"/>
          <ac:graphicFrameMkLst>
            <pc:docMk/>
            <pc:sldMk cId="1504907557" sldId="1538"/>
            <ac:graphicFrameMk id="7" creationId="{D000299B-FFC5-4D24-B916-A612E1EFD5F0}"/>
          </ac:graphicFrameMkLst>
        </pc:graphicFrameChg>
      </pc:sldChg>
      <pc:sldChg chg="addSp delSp modSp mod">
        <pc:chgData name="Stacey Yi" userId="736affbd-34d5-4375-befe-882681e433d4" providerId="ADAL" clId="{C174D987-FF03-4492-A128-1FDDF419AD2D}" dt="2021-01-12T22:46:40.663" v="2555" actId="478"/>
        <pc:sldMkLst>
          <pc:docMk/>
          <pc:sldMk cId="2326987667" sldId="1539"/>
        </pc:sldMkLst>
        <pc:spChg chg="del mod">
          <ac:chgData name="Stacey Yi" userId="736affbd-34d5-4375-befe-882681e433d4" providerId="ADAL" clId="{C174D987-FF03-4492-A128-1FDDF419AD2D}" dt="2021-01-12T22:46:37.235" v="2554" actId="478"/>
          <ac:spMkLst>
            <pc:docMk/>
            <pc:sldMk cId="2326987667" sldId="1539"/>
            <ac:spMk id="3" creationId="{364861FC-6692-4114-8B9C-D3B022278DAD}"/>
          </ac:spMkLst>
        </pc:spChg>
        <pc:spChg chg="del">
          <ac:chgData name="Stacey Yi" userId="736affbd-34d5-4375-befe-882681e433d4" providerId="ADAL" clId="{C174D987-FF03-4492-A128-1FDDF419AD2D}" dt="2021-01-12T22:43:32.334" v="2201" actId="478"/>
          <ac:spMkLst>
            <pc:docMk/>
            <pc:sldMk cId="2326987667" sldId="1539"/>
            <ac:spMk id="5" creationId="{7B957CCC-CAC3-4A74-81A2-F94FB3A33A1A}"/>
          </ac:spMkLst>
        </pc:spChg>
        <pc:spChg chg="add mod">
          <ac:chgData name="Stacey Yi" userId="736affbd-34d5-4375-befe-882681e433d4" providerId="ADAL" clId="{C174D987-FF03-4492-A128-1FDDF419AD2D}" dt="2021-01-12T22:37:13.083" v="1751"/>
          <ac:spMkLst>
            <pc:docMk/>
            <pc:sldMk cId="2326987667" sldId="1539"/>
            <ac:spMk id="7" creationId="{503E0CE4-30DB-4142-A68B-D95073FAE70B}"/>
          </ac:spMkLst>
        </pc:spChg>
        <pc:spChg chg="add del mod">
          <ac:chgData name="Stacey Yi" userId="736affbd-34d5-4375-befe-882681e433d4" providerId="ADAL" clId="{C174D987-FF03-4492-A128-1FDDF419AD2D}" dt="2021-01-12T22:46:40.663" v="2555" actId="478"/>
          <ac:spMkLst>
            <pc:docMk/>
            <pc:sldMk cId="2326987667" sldId="1539"/>
            <ac:spMk id="9" creationId="{E3128272-5C4E-4DF0-AE6A-619F3FD8F4D3}"/>
          </ac:spMkLst>
        </pc:spChg>
        <pc:graphicFrameChg chg="mod modGraphic">
          <ac:chgData name="Stacey Yi" userId="736affbd-34d5-4375-befe-882681e433d4" providerId="ADAL" clId="{C174D987-FF03-4492-A128-1FDDF419AD2D}" dt="2021-01-12T22:43:36.096" v="2206" actId="1035"/>
          <ac:graphicFrameMkLst>
            <pc:docMk/>
            <pc:sldMk cId="2326987667" sldId="1539"/>
            <ac:graphicFrameMk id="4" creationId="{C8632FB6-F55E-4B58-8046-D8AF7105DF5D}"/>
          </ac:graphicFrameMkLst>
        </pc:graphicFrameChg>
        <pc:graphicFrameChg chg="add mod modGraphic">
          <ac:chgData name="Stacey Yi" userId="736affbd-34d5-4375-befe-882681e433d4" providerId="ADAL" clId="{C174D987-FF03-4492-A128-1FDDF419AD2D}" dt="2021-01-12T22:46:27.125" v="2553" actId="255"/>
          <ac:graphicFrameMkLst>
            <pc:docMk/>
            <pc:sldMk cId="2326987667" sldId="1539"/>
            <ac:graphicFrameMk id="6" creationId="{ED6FDEB9-E957-468F-A737-B60E98C2E5CF}"/>
          </ac:graphicFrameMkLst>
        </pc:graphicFrameChg>
      </pc:sldChg>
      <pc:sldChg chg="addSp delSp modSp mod addCm modCm">
        <pc:chgData name="Stacey Yi" userId="736affbd-34d5-4375-befe-882681e433d4" providerId="ADAL" clId="{C174D987-FF03-4492-A128-1FDDF419AD2D}" dt="2021-01-12T22:54:07.911" v="3054" actId="478"/>
        <pc:sldMkLst>
          <pc:docMk/>
          <pc:sldMk cId="4034419199" sldId="1540"/>
        </pc:sldMkLst>
        <pc:spChg chg="del mod">
          <ac:chgData name="Stacey Yi" userId="736affbd-34d5-4375-befe-882681e433d4" providerId="ADAL" clId="{C174D987-FF03-4492-A128-1FDDF419AD2D}" dt="2021-01-12T22:54:03.262" v="3052" actId="478"/>
          <ac:spMkLst>
            <pc:docMk/>
            <pc:sldMk cId="4034419199" sldId="1540"/>
            <ac:spMk id="3" creationId="{53497994-04F2-4183-BDA3-67BAF425F326}"/>
          </ac:spMkLst>
        </pc:spChg>
        <pc:spChg chg="del mod">
          <ac:chgData name="Stacey Yi" userId="736affbd-34d5-4375-befe-882681e433d4" providerId="ADAL" clId="{C174D987-FF03-4492-A128-1FDDF419AD2D}" dt="2021-01-12T22:54:06.592" v="3053" actId="478"/>
          <ac:spMkLst>
            <pc:docMk/>
            <pc:sldMk cId="4034419199" sldId="1540"/>
            <ac:spMk id="5" creationId="{02866655-18A0-4487-92EB-45E22E435180}"/>
          </ac:spMkLst>
        </pc:spChg>
        <pc:spChg chg="add mod">
          <ac:chgData name="Stacey Yi" userId="736affbd-34d5-4375-befe-882681e433d4" providerId="ADAL" clId="{C174D987-FF03-4492-A128-1FDDF419AD2D}" dt="2021-01-12T22:47:04.044" v="2559"/>
          <ac:spMkLst>
            <pc:docMk/>
            <pc:sldMk cId="4034419199" sldId="1540"/>
            <ac:spMk id="7" creationId="{F1484992-4646-4910-BD93-3686C8F5C8EE}"/>
          </ac:spMkLst>
        </pc:spChg>
        <pc:spChg chg="add del mod">
          <ac:chgData name="Stacey Yi" userId="736affbd-34d5-4375-befe-882681e433d4" providerId="ADAL" clId="{C174D987-FF03-4492-A128-1FDDF419AD2D}" dt="2021-01-12T22:54:07.911" v="3054" actId="478"/>
          <ac:spMkLst>
            <pc:docMk/>
            <pc:sldMk cId="4034419199" sldId="1540"/>
            <ac:spMk id="9" creationId="{6E75B6F9-2FAB-41A4-AD8D-D284547C1E6A}"/>
          </ac:spMkLst>
        </pc:spChg>
        <pc:graphicFrameChg chg="mod modGraphic">
          <ac:chgData name="Stacey Yi" userId="736affbd-34d5-4375-befe-882681e433d4" providerId="ADAL" clId="{C174D987-FF03-4492-A128-1FDDF419AD2D}" dt="2021-01-12T22:47:31.520" v="2618" actId="1036"/>
          <ac:graphicFrameMkLst>
            <pc:docMk/>
            <pc:sldMk cId="4034419199" sldId="1540"/>
            <ac:graphicFrameMk id="4" creationId="{427A3F76-7F50-4126-AF94-A27ED42D987C}"/>
          </ac:graphicFrameMkLst>
        </pc:graphicFrameChg>
        <pc:graphicFrameChg chg="add mod modGraphic">
          <ac:chgData name="Stacey Yi" userId="736affbd-34d5-4375-befe-882681e433d4" providerId="ADAL" clId="{C174D987-FF03-4492-A128-1FDDF419AD2D}" dt="2021-01-12T22:53:47.574" v="3051" actId="2711"/>
          <ac:graphicFrameMkLst>
            <pc:docMk/>
            <pc:sldMk cId="4034419199" sldId="1540"/>
            <ac:graphicFrameMk id="6" creationId="{703D5406-9548-4EE0-88A7-EBA10E780383}"/>
          </ac:graphicFrameMkLst>
        </pc:graphicFrameChg>
      </pc:sldChg>
      <pc:sldChg chg="addSp delSp modSp mod">
        <pc:chgData name="Stacey Yi" userId="736affbd-34d5-4375-befe-882681e433d4" providerId="ADAL" clId="{C174D987-FF03-4492-A128-1FDDF419AD2D}" dt="2021-01-12T23:10:19.684" v="3982" actId="478"/>
        <pc:sldMkLst>
          <pc:docMk/>
          <pc:sldMk cId="4294662965" sldId="1541"/>
        </pc:sldMkLst>
        <pc:spChg chg="del mod">
          <ac:chgData name="Stacey Yi" userId="736affbd-34d5-4375-befe-882681e433d4" providerId="ADAL" clId="{C174D987-FF03-4492-A128-1FDDF419AD2D}" dt="2021-01-12T23:10:10.729" v="3980" actId="478"/>
          <ac:spMkLst>
            <pc:docMk/>
            <pc:sldMk cId="4294662965" sldId="1541"/>
            <ac:spMk id="3" creationId="{DB4966CA-6796-4FFF-BB42-25D5922591D0}"/>
          </ac:spMkLst>
        </pc:spChg>
        <pc:spChg chg="del">
          <ac:chgData name="Stacey Yi" userId="736affbd-34d5-4375-befe-882681e433d4" providerId="ADAL" clId="{C174D987-FF03-4492-A128-1FDDF419AD2D}" dt="2021-01-12T22:55:33.836" v="3067" actId="478"/>
          <ac:spMkLst>
            <pc:docMk/>
            <pc:sldMk cId="4294662965" sldId="1541"/>
            <ac:spMk id="5" creationId="{EF0997B6-ACFD-4735-8369-4AA1E80C87AA}"/>
          </ac:spMkLst>
        </pc:spChg>
        <pc:spChg chg="add mod">
          <ac:chgData name="Stacey Yi" userId="736affbd-34d5-4375-befe-882681e433d4" providerId="ADAL" clId="{C174D987-FF03-4492-A128-1FDDF419AD2D}" dt="2021-01-12T22:54:24.111" v="3059"/>
          <ac:spMkLst>
            <pc:docMk/>
            <pc:sldMk cId="4294662965" sldId="1541"/>
            <ac:spMk id="6" creationId="{8D2DC108-9700-4D24-A819-877057DEE82B}"/>
          </ac:spMkLst>
        </pc:spChg>
        <pc:spChg chg="add del mod">
          <ac:chgData name="Stacey Yi" userId="736affbd-34d5-4375-befe-882681e433d4" providerId="ADAL" clId="{C174D987-FF03-4492-A128-1FDDF419AD2D}" dt="2021-01-12T23:10:19.684" v="3982" actId="478"/>
          <ac:spMkLst>
            <pc:docMk/>
            <pc:sldMk cId="4294662965" sldId="1541"/>
            <ac:spMk id="9" creationId="{C74E7A31-92AF-4AF9-989E-B1EC078EDD78}"/>
          </ac:spMkLst>
        </pc:spChg>
        <pc:graphicFrameChg chg="mod modGraphic">
          <ac:chgData name="Stacey Yi" userId="736affbd-34d5-4375-befe-882681e433d4" providerId="ADAL" clId="{C174D987-FF03-4492-A128-1FDDF419AD2D}" dt="2021-01-12T22:55:48.088" v="3087" actId="1076"/>
          <ac:graphicFrameMkLst>
            <pc:docMk/>
            <pc:sldMk cId="4294662965" sldId="1541"/>
            <ac:graphicFrameMk id="4" creationId="{82565CFB-AE03-4F5A-A826-F0D5D2134E0A}"/>
          </ac:graphicFrameMkLst>
        </pc:graphicFrameChg>
        <pc:graphicFrameChg chg="add mod modGraphic">
          <ac:chgData name="Stacey Yi" userId="736affbd-34d5-4375-befe-882681e433d4" providerId="ADAL" clId="{C174D987-FF03-4492-A128-1FDDF419AD2D}" dt="2021-01-12T23:10:08.006" v="3979" actId="20577"/>
          <ac:graphicFrameMkLst>
            <pc:docMk/>
            <pc:sldMk cId="4294662965" sldId="1541"/>
            <ac:graphicFrameMk id="7" creationId="{E5D7A349-E1E3-4363-A0DC-42780DE9B459}"/>
          </ac:graphicFrameMkLst>
        </pc:graphicFrameChg>
      </pc:sldChg>
      <pc:sldChg chg="addSp delSp modSp mod">
        <pc:chgData name="Stacey Yi" userId="736affbd-34d5-4375-befe-882681e433d4" providerId="ADAL" clId="{C174D987-FF03-4492-A128-1FDDF419AD2D}" dt="2021-01-12T23:27:42.358" v="5125" actId="478"/>
        <pc:sldMkLst>
          <pc:docMk/>
          <pc:sldMk cId="2827253852" sldId="1542"/>
        </pc:sldMkLst>
        <pc:spChg chg="del mod">
          <ac:chgData name="Stacey Yi" userId="736affbd-34d5-4375-befe-882681e433d4" providerId="ADAL" clId="{C174D987-FF03-4492-A128-1FDDF419AD2D}" dt="2021-01-12T23:27:38.694" v="5124" actId="478"/>
          <ac:spMkLst>
            <pc:docMk/>
            <pc:sldMk cId="2827253852" sldId="1542"/>
            <ac:spMk id="3" creationId="{ED7C90B3-693B-4B0C-A359-1491F78CFD76}"/>
          </ac:spMkLst>
        </pc:spChg>
        <pc:spChg chg="del mod">
          <ac:chgData name="Stacey Yi" userId="736affbd-34d5-4375-befe-882681e433d4" providerId="ADAL" clId="{C174D987-FF03-4492-A128-1FDDF419AD2D}" dt="2021-01-12T23:27:17.170" v="5117" actId="478"/>
          <ac:spMkLst>
            <pc:docMk/>
            <pc:sldMk cId="2827253852" sldId="1542"/>
            <ac:spMk id="5" creationId="{0C1535A6-0530-419C-A9F8-75E17C3DAF9E}"/>
          </ac:spMkLst>
        </pc:spChg>
        <pc:spChg chg="add del mod">
          <ac:chgData name="Stacey Yi" userId="736affbd-34d5-4375-befe-882681e433d4" providerId="ADAL" clId="{C174D987-FF03-4492-A128-1FDDF419AD2D}" dt="2021-01-12T23:27:42.358" v="5125" actId="478"/>
          <ac:spMkLst>
            <pc:docMk/>
            <pc:sldMk cId="2827253852" sldId="1542"/>
            <ac:spMk id="8" creationId="{CFF9BDD0-ABEF-476C-817E-F37BDEA7454C}"/>
          </ac:spMkLst>
        </pc:spChg>
        <pc:graphicFrameChg chg="mod modGraphic">
          <ac:chgData name="Stacey Yi" userId="736affbd-34d5-4375-befe-882681e433d4" providerId="ADAL" clId="{C174D987-FF03-4492-A128-1FDDF419AD2D}" dt="2021-01-12T23:27:09.697" v="5115" actId="1035"/>
          <ac:graphicFrameMkLst>
            <pc:docMk/>
            <pc:sldMk cId="2827253852" sldId="1542"/>
            <ac:graphicFrameMk id="4" creationId="{C6985055-E32D-4FA0-A826-4C444C91F97C}"/>
          </ac:graphicFrameMkLst>
        </pc:graphicFrameChg>
        <pc:graphicFrameChg chg="add mod modGraphic">
          <ac:chgData name="Stacey Yi" userId="736affbd-34d5-4375-befe-882681e433d4" providerId="ADAL" clId="{C174D987-FF03-4492-A128-1FDDF419AD2D}" dt="2021-01-12T23:27:32.764" v="5123" actId="14734"/>
          <ac:graphicFrameMkLst>
            <pc:docMk/>
            <pc:sldMk cId="2827253852" sldId="1542"/>
            <ac:graphicFrameMk id="6" creationId="{3742F499-8498-45F9-A9F0-1C24ABD99E48}"/>
          </ac:graphicFrameMkLst>
        </pc:graphicFrameChg>
      </pc:sldChg>
      <pc:sldChg chg="addSp delSp modSp mod">
        <pc:chgData name="Stacey Yi" userId="736affbd-34d5-4375-befe-882681e433d4" providerId="ADAL" clId="{C174D987-FF03-4492-A128-1FDDF419AD2D}" dt="2021-01-12T23:54:27.811" v="6946" actId="113"/>
        <pc:sldMkLst>
          <pc:docMk/>
          <pc:sldMk cId="91523219" sldId="1543"/>
        </pc:sldMkLst>
        <pc:spChg chg="del mod">
          <ac:chgData name="Stacey Yi" userId="736affbd-34d5-4375-befe-882681e433d4" providerId="ADAL" clId="{C174D987-FF03-4492-A128-1FDDF419AD2D}" dt="2021-01-12T23:30:08.718" v="5410" actId="478"/>
          <ac:spMkLst>
            <pc:docMk/>
            <pc:sldMk cId="91523219" sldId="1543"/>
            <ac:spMk id="3" creationId="{74E02507-FFC8-4738-8342-A86E5574F4C6}"/>
          </ac:spMkLst>
        </pc:spChg>
        <pc:spChg chg="del mod">
          <ac:chgData name="Stacey Yi" userId="736affbd-34d5-4375-befe-882681e433d4" providerId="ADAL" clId="{C174D987-FF03-4492-A128-1FDDF419AD2D}" dt="2021-01-12T23:30:06.570" v="5409" actId="478"/>
          <ac:spMkLst>
            <pc:docMk/>
            <pc:sldMk cId="91523219" sldId="1543"/>
            <ac:spMk id="5" creationId="{F72C246E-9627-4F64-BB9B-5612F5D42D80}"/>
          </ac:spMkLst>
        </pc:spChg>
        <pc:spChg chg="add mod">
          <ac:chgData name="Stacey Yi" userId="736affbd-34d5-4375-befe-882681e433d4" providerId="ADAL" clId="{C174D987-FF03-4492-A128-1FDDF419AD2D}" dt="2021-01-12T23:28:04.095" v="5127"/>
          <ac:spMkLst>
            <pc:docMk/>
            <pc:sldMk cId="91523219" sldId="1543"/>
            <ac:spMk id="6" creationId="{73FD04A9-F46A-476B-A12D-08A907B735ED}"/>
          </ac:spMkLst>
        </pc:spChg>
        <pc:spChg chg="add del mod">
          <ac:chgData name="Stacey Yi" userId="736affbd-34d5-4375-befe-882681e433d4" providerId="ADAL" clId="{C174D987-FF03-4492-A128-1FDDF419AD2D}" dt="2021-01-12T23:30:13.628" v="5413" actId="478"/>
          <ac:spMkLst>
            <pc:docMk/>
            <pc:sldMk cId="91523219" sldId="1543"/>
            <ac:spMk id="9" creationId="{66C0D5DE-C79F-465A-8D96-233C625BA927}"/>
          </ac:spMkLst>
        </pc:spChg>
        <pc:graphicFrameChg chg="mod modGraphic">
          <ac:chgData name="Stacey Yi" userId="736affbd-34d5-4375-befe-882681e433d4" providerId="ADAL" clId="{C174D987-FF03-4492-A128-1FDDF419AD2D}" dt="2021-01-12T23:28:26.464" v="5131" actId="14100"/>
          <ac:graphicFrameMkLst>
            <pc:docMk/>
            <pc:sldMk cId="91523219" sldId="1543"/>
            <ac:graphicFrameMk id="4" creationId="{E7312D6A-5DFD-44D2-8804-11047692A597}"/>
          </ac:graphicFrameMkLst>
        </pc:graphicFrameChg>
        <pc:graphicFrameChg chg="add mod modGraphic">
          <ac:chgData name="Stacey Yi" userId="736affbd-34d5-4375-befe-882681e433d4" providerId="ADAL" clId="{C174D987-FF03-4492-A128-1FDDF419AD2D}" dt="2021-01-12T23:54:27.811" v="6946" actId="113"/>
          <ac:graphicFrameMkLst>
            <pc:docMk/>
            <pc:sldMk cId="91523219" sldId="1543"/>
            <ac:graphicFrameMk id="7" creationId="{A00EC0A3-093C-4F1B-B425-6D2E8B755C18}"/>
          </ac:graphicFrameMkLst>
        </pc:graphicFrameChg>
      </pc:sldChg>
      <pc:sldChg chg="addSp delSp modSp mod addCm modCm">
        <pc:chgData name="Stacey Yi" userId="736affbd-34d5-4375-befe-882681e433d4" providerId="ADAL" clId="{C174D987-FF03-4492-A128-1FDDF419AD2D}" dt="2021-01-12T23:54:09.388" v="6944" actId="113"/>
        <pc:sldMkLst>
          <pc:docMk/>
          <pc:sldMk cId="3173968709" sldId="1545"/>
        </pc:sldMkLst>
        <pc:spChg chg="del mod">
          <ac:chgData name="Stacey Yi" userId="736affbd-34d5-4375-befe-882681e433d4" providerId="ADAL" clId="{C174D987-FF03-4492-A128-1FDDF419AD2D}" dt="2021-01-12T23:44:31.077" v="6414" actId="478"/>
          <ac:spMkLst>
            <pc:docMk/>
            <pc:sldMk cId="3173968709" sldId="1545"/>
            <ac:spMk id="3" creationId="{7457BE4E-9820-4356-97DF-72EB04A8C60E}"/>
          </ac:spMkLst>
        </pc:spChg>
        <pc:spChg chg="del mod">
          <ac:chgData name="Stacey Yi" userId="736affbd-34d5-4375-befe-882681e433d4" providerId="ADAL" clId="{C174D987-FF03-4492-A128-1FDDF419AD2D}" dt="2021-01-12T23:36:13.107" v="5762" actId="478"/>
          <ac:spMkLst>
            <pc:docMk/>
            <pc:sldMk cId="3173968709" sldId="1545"/>
            <ac:spMk id="5" creationId="{B1D73052-1E95-4091-AD20-2DF93EB5E300}"/>
          </ac:spMkLst>
        </pc:spChg>
        <pc:spChg chg="add mod">
          <ac:chgData name="Stacey Yi" userId="736affbd-34d5-4375-befe-882681e433d4" providerId="ADAL" clId="{C174D987-FF03-4492-A128-1FDDF419AD2D}" dt="2021-01-12T23:30:30.166" v="5417"/>
          <ac:spMkLst>
            <pc:docMk/>
            <pc:sldMk cId="3173968709" sldId="1545"/>
            <ac:spMk id="6" creationId="{6B598768-3999-43F9-BBB8-D011DA55AD76}"/>
          </ac:spMkLst>
        </pc:spChg>
        <pc:spChg chg="add del mod">
          <ac:chgData name="Stacey Yi" userId="736affbd-34d5-4375-befe-882681e433d4" providerId="ADAL" clId="{C174D987-FF03-4492-A128-1FDDF419AD2D}" dt="2021-01-12T23:44:37.678" v="6416" actId="478"/>
          <ac:spMkLst>
            <pc:docMk/>
            <pc:sldMk cId="3173968709" sldId="1545"/>
            <ac:spMk id="9" creationId="{DC62DC14-C36D-4111-ABD4-A9FE0B2DEA56}"/>
          </ac:spMkLst>
        </pc:spChg>
        <pc:graphicFrameChg chg="mod modGraphic">
          <ac:chgData name="Stacey Yi" userId="736affbd-34d5-4375-befe-882681e433d4" providerId="ADAL" clId="{C174D987-FF03-4492-A128-1FDDF419AD2D}" dt="2021-01-12T23:43:19.280" v="6387" actId="1036"/>
          <ac:graphicFrameMkLst>
            <pc:docMk/>
            <pc:sldMk cId="3173968709" sldId="1545"/>
            <ac:graphicFrameMk id="4" creationId="{AD037B24-F700-4A18-80D7-2A0638A71481}"/>
          </ac:graphicFrameMkLst>
        </pc:graphicFrameChg>
        <pc:graphicFrameChg chg="add mod modGraphic">
          <ac:chgData name="Stacey Yi" userId="736affbd-34d5-4375-befe-882681e433d4" providerId="ADAL" clId="{C174D987-FF03-4492-A128-1FDDF419AD2D}" dt="2021-01-12T23:54:09.388" v="6944" actId="113"/>
          <ac:graphicFrameMkLst>
            <pc:docMk/>
            <pc:sldMk cId="3173968709" sldId="1545"/>
            <ac:graphicFrameMk id="7" creationId="{39BAF4DC-224B-4183-9474-B7DD30F26D81}"/>
          </ac:graphicFrameMkLst>
        </pc:graphicFrameChg>
      </pc:sldChg>
      <pc:sldChg chg="addSp delSp modSp mod">
        <pc:chgData name="Stacey Yi" userId="736affbd-34d5-4375-befe-882681e433d4" providerId="ADAL" clId="{C174D987-FF03-4492-A128-1FDDF419AD2D}" dt="2021-01-13T08:42:04.766" v="9626" actId="5793"/>
        <pc:sldMkLst>
          <pc:docMk/>
          <pc:sldMk cId="200381774" sldId="1546"/>
        </pc:sldMkLst>
        <pc:spChg chg="del mod">
          <ac:chgData name="Stacey Yi" userId="736affbd-34d5-4375-befe-882681e433d4" providerId="ADAL" clId="{C174D987-FF03-4492-A128-1FDDF419AD2D}" dt="2021-01-12T23:50:01.536" v="6665" actId="478"/>
          <ac:spMkLst>
            <pc:docMk/>
            <pc:sldMk cId="200381774" sldId="1546"/>
            <ac:spMk id="3" creationId="{4DC0CD9D-7438-4A3E-BFB9-4C46519AF2AA}"/>
          </ac:spMkLst>
        </pc:spChg>
        <pc:spChg chg="del mod">
          <ac:chgData name="Stacey Yi" userId="736affbd-34d5-4375-befe-882681e433d4" providerId="ADAL" clId="{C174D987-FF03-4492-A128-1FDDF419AD2D}" dt="2021-01-12T23:49:58.745" v="6664" actId="478"/>
          <ac:spMkLst>
            <pc:docMk/>
            <pc:sldMk cId="200381774" sldId="1546"/>
            <ac:spMk id="5" creationId="{4D1EA680-054F-4F56-A428-1DDF818D71D0}"/>
          </ac:spMkLst>
        </pc:spChg>
        <pc:spChg chg="add mod">
          <ac:chgData name="Stacey Yi" userId="736affbd-34d5-4375-befe-882681e433d4" providerId="ADAL" clId="{C174D987-FF03-4492-A128-1FDDF419AD2D}" dt="2021-01-12T23:45:02.026" v="6421"/>
          <ac:spMkLst>
            <pc:docMk/>
            <pc:sldMk cId="200381774" sldId="1546"/>
            <ac:spMk id="7" creationId="{84616F94-F1BF-43C1-9516-3E93EF6B31E1}"/>
          </ac:spMkLst>
        </pc:spChg>
        <pc:spChg chg="add del mod">
          <ac:chgData name="Stacey Yi" userId="736affbd-34d5-4375-befe-882681e433d4" providerId="ADAL" clId="{C174D987-FF03-4492-A128-1FDDF419AD2D}" dt="2021-01-12T23:50:05.778" v="6667" actId="478"/>
          <ac:spMkLst>
            <pc:docMk/>
            <pc:sldMk cId="200381774" sldId="1546"/>
            <ac:spMk id="9" creationId="{A07448A3-7D99-403F-872E-E1AAC2DACBA7}"/>
          </ac:spMkLst>
        </pc:spChg>
        <pc:graphicFrameChg chg="mod modGraphic">
          <ac:chgData name="Stacey Yi" userId="736affbd-34d5-4375-befe-882681e433d4" providerId="ADAL" clId="{C174D987-FF03-4492-A128-1FDDF419AD2D}" dt="2021-01-12T23:45:11.561" v="6423" actId="14100"/>
          <ac:graphicFrameMkLst>
            <pc:docMk/>
            <pc:sldMk cId="200381774" sldId="1546"/>
            <ac:graphicFrameMk id="4" creationId="{57CF0111-DA35-4281-8C9B-5775726E3ED5}"/>
          </ac:graphicFrameMkLst>
        </pc:graphicFrameChg>
        <pc:graphicFrameChg chg="add mod modGraphic">
          <ac:chgData name="Stacey Yi" userId="736affbd-34d5-4375-befe-882681e433d4" providerId="ADAL" clId="{C174D987-FF03-4492-A128-1FDDF419AD2D}" dt="2021-01-13T08:42:04.766" v="9626" actId="5793"/>
          <ac:graphicFrameMkLst>
            <pc:docMk/>
            <pc:sldMk cId="200381774" sldId="1546"/>
            <ac:graphicFrameMk id="6" creationId="{6D7DFEB1-F445-4284-99EE-235777AA0C8A}"/>
          </ac:graphicFrameMkLst>
        </pc:graphicFrameChg>
      </pc:sldChg>
      <pc:sldChg chg="addSp delSp modSp mod">
        <pc:chgData name="Stacey Yi" userId="736affbd-34d5-4375-befe-882681e433d4" providerId="ADAL" clId="{C174D987-FF03-4492-A128-1FDDF419AD2D}" dt="2021-01-12T23:55:51.379" v="6963" actId="478"/>
        <pc:sldMkLst>
          <pc:docMk/>
          <pc:sldMk cId="2471568903" sldId="1547"/>
        </pc:sldMkLst>
        <pc:spChg chg="del mod">
          <ac:chgData name="Stacey Yi" userId="736affbd-34d5-4375-befe-882681e433d4" providerId="ADAL" clId="{C174D987-FF03-4492-A128-1FDDF419AD2D}" dt="2021-01-12T23:55:47.363" v="6961" actId="478"/>
          <ac:spMkLst>
            <pc:docMk/>
            <pc:sldMk cId="2471568903" sldId="1547"/>
            <ac:spMk id="3" creationId="{35F68FCA-C563-406E-8DC0-D12EBABCEB43}"/>
          </ac:spMkLst>
        </pc:spChg>
        <pc:spChg chg="del mod">
          <ac:chgData name="Stacey Yi" userId="736affbd-34d5-4375-befe-882681e433d4" providerId="ADAL" clId="{C174D987-FF03-4492-A128-1FDDF419AD2D}" dt="2021-01-12T23:55:51.379" v="6963" actId="478"/>
          <ac:spMkLst>
            <pc:docMk/>
            <pc:sldMk cId="2471568903" sldId="1547"/>
            <ac:spMk id="5" creationId="{ECF74BC5-E637-4B77-96B8-BFEAA3701BAA}"/>
          </ac:spMkLst>
        </pc:spChg>
        <pc:spChg chg="add mod">
          <ac:chgData name="Stacey Yi" userId="736affbd-34d5-4375-befe-882681e433d4" providerId="ADAL" clId="{C174D987-FF03-4492-A128-1FDDF419AD2D}" dt="2021-01-12T23:50:45.964" v="6674"/>
          <ac:spMkLst>
            <pc:docMk/>
            <pc:sldMk cId="2471568903" sldId="1547"/>
            <ac:spMk id="7" creationId="{7E910FA3-EEB4-4729-A8D4-DF0309C9EEFB}"/>
          </ac:spMkLst>
        </pc:spChg>
        <pc:spChg chg="add del mod">
          <ac:chgData name="Stacey Yi" userId="736affbd-34d5-4375-befe-882681e433d4" providerId="ADAL" clId="{C174D987-FF03-4492-A128-1FDDF419AD2D}" dt="2021-01-12T23:55:50.441" v="6962" actId="478"/>
          <ac:spMkLst>
            <pc:docMk/>
            <pc:sldMk cId="2471568903" sldId="1547"/>
            <ac:spMk id="9" creationId="{7EA6396D-FA6C-4E1C-B5F0-69EE97251CDA}"/>
          </ac:spMkLst>
        </pc:spChg>
        <pc:graphicFrameChg chg="mod modGraphic">
          <ac:chgData name="Stacey Yi" userId="736affbd-34d5-4375-befe-882681e433d4" providerId="ADAL" clId="{C174D987-FF03-4492-A128-1FDDF419AD2D}" dt="2021-01-12T23:50:40.402" v="6673" actId="14100"/>
          <ac:graphicFrameMkLst>
            <pc:docMk/>
            <pc:sldMk cId="2471568903" sldId="1547"/>
            <ac:graphicFrameMk id="4" creationId="{B4BE7D98-6C4A-4E9C-BC04-CC4046BA999A}"/>
          </ac:graphicFrameMkLst>
        </pc:graphicFrameChg>
        <pc:graphicFrameChg chg="add mod modGraphic">
          <ac:chgData name="Stacey Yi" userId="736affbd-34d5-4375-befe-882681e433d4" providerId="ADAL" clId="{C174D987-FF03-4492-A128-1FDDF419AD2D}" dt="2021-01-12T23:55:41.310" v="6960" actId="113"/>
          <ac:graphicFrameMkLst>
            <pc:docMk/>
            <pc:sldMk cId="2471568903" sldId="1547"/>
            <ac:graphicFrameMk id="6" creationId="{84757D27-93B0-49E1-A595-08CA877806BB}"/>
          </ac:graphicFrameMkLst>
        </pc:graphicFrameChg>
      </pc:sldChg>
      <pc:sldChg chg="addSp delSp modSp mod addCm modCm">
        <pc:chgData name="Stacey Yi" userId="736affbd-34d5-4375-befe-882681e433d4" providerId="ADAL" clId="{C174D987-FF03-4492-A128-1FDDF419AD2D}" dt="2021-01-13T00:02:58.609" v="7113" actId="478"/>
        <pc:sldMkLst>
          <pc:docMk/>
          <pc:sldMk cId="1451882486" sldId="1548"/>
        </pc:sldMkLst>
        <pc:spChg chg="del mod">
          <ac:chgData name="Stacey Yi" userId="736affbd-34d5-4375-befe-882681e433d4" providerId="ADAL" clId="{C174D987-FF03-4492-A128-1FDDF419AD2D}" dt="2021-01-13T00:02:41.261" v="7107" actId="478"/>
          <ac:spMkLst>
            <pc:docMk/>
            <pc:sldMk cId="1451882486" sldId="1548"/>
            <ac:spMk id="3" creationId="{36AB7E7D-D07D-4787-B754-898CFA0CF4E0}"/>
          </ac:spMkLst>
        </pc:spChg>
        <pc:spChg chg="del mod">
          <ac:chgData name="Stacey Yi" userId="736affbd-34d5-4375-befe-882681e433d4" providerId="ADAL" clId="{C174D987-FF03-4492-A128-1FDDF419AD2D}" dt="2021-01-13T00:00:38.782" v="7097" actId="478"/>
          <ac:spMkLst>
            <pc:docMk/>
            <pc:sldMk cId="1451882486" sldId="1548"/>
            <ac:spMk id="5" creationId="{725D633B-162B-4790-923B-E2A6AFF23FB4}"/>
          </ac:spMkLst>
        </pc:spChg>
        <pc:spChg chg="add mod">
          <ac:chgData name="Stacey Yi" userId="736affbd-34d5-4375-befe-882681e433d4" providerId="ADAL" clId="{C174D987-FF03-4492-A128-1FDDF419AD2D}" dt="2021-01-12T23:56:13.142" v="6968"/>
          <ac:spMkLst>
            <pc:docMk/>
            <pc:sldMk cId="1451882486" sldId="1548"/>
            <ac:spMk id="7" creationId="{AEC7ACD2-FC1C-4213-909E-2AFD0ADFF295}"/>
          </ac:spMkLst>
        </pc:spChg>
        <pc:spChg chg="add del mod">
          <ac:chgData name="Stacey Yi" userId="736affbd-34d5-4375-befe-882681e433d4" providerId="ADAL" clId="{C174D987-FF03-4492-A128-1FDDF419AD2D}" dt="2021-01-13T00:02:58.609" v="7113" actId="478"/>
          <ac:spMkLst>
            <pc:docMk/>
            <pc:sldMk cId="1451882486" sldId="1548"/>
            <ac:spMk id="9" creationId="{255E399B-E1D9-43B2-AC58-8EA13487544A}"/>
          </ac:spMkLst>
        </pc:spChg>
        <pc:graphicFrameChg chg="mod modGraphic">
          <ac:chgData name="Stacey Yi" userId="736affbd-34d5-4375-befe-882681e433d4" providerId="ADAL" clId="{C174D987-FF03-4492-A128-1FDDF419AD2D}" dt="2021-01-12T23:56:21.809" v="6982" actId="1036"/>
          <ac:graphicFrameMkLst>
            <pc:docMk/>
            <pc:sldMk cId="1451882486" sldId="1548"/>
            <ac:graphicFrameMk id="4" creationId="{7D09E36F-77C8-456E-9949-639DBFBB69FA}"/>
          </ac:graphicFrameMkLst>
        </pc:graphicFrameChg>
        <pc:graphicFrameChg chg="add del mod modGraphic">
          <ac:chgData name="Stacey Yi" userId="736affbd-34d5-4375-befe-882681e433d4" providerId="ADAL" clId="{C174D987-FF03-4492-A128-1FDDF419AD2D}" dt="2021-01-13T00:02:54.393" v="7111" actId="478"/>
          <ac:graphicFrameMkLst>
            <pc:docMk/>
            <pc:sldMk cId="1451882486" sldId="1548"/>
            <ac:graphicFrameMk id="6" creationId="{23509208-85DA-43CA-A720-7F0C1313817D}"/>
          </ac:graphicFrameMkLst>
        </pc:graphicFrameChg>
      </pc:sldChg>
      <pc:sldChg chg="addSp delSp modSp mod">
        <pc:chgData name="Stacey Yi" userId="736affbd-34d5-4375-befe-882681e433d4" providerId="ADAL" clId="{C174D987-FF03-4492-A128-1FDDF419AD2D}" dt="2021-01-13T00:22:44.217" v="7166" actId="14100"/>
        <pc:sldMkLst>
          <pc:docMk/>
          <pc:sldMk cId="2986110700" sldId="1549"/>
        </pc:sldMkLst>
        <pc:spChg chg="del mod">
          <ac:chgData name="Stacey Yi" userId="736affbd-34d5-4375-befe-882681e433d4" providerId="ADAL" clId="{C174D987-FF03-4492-A128-1FDDF419AD2D}" dt="2021-01-13T00:21:46.405" v="7157" actId="478"/>
          <ac:spMkLst>
            <pc:docMk/>
            <pc:sldMk cId="2986110700" sldId="1549"/>
            <ac:spMk id="3" creationId="{DEF8C6E0-3892-4845-842F-4B8F6CCCAD02}"/>
          </ac:spMkLst>
        </pc:spChg>
        <pc:spChg chg="del mod">
          <ac:chgData name="Stacey Yi" userId="736affbd-34d5-4375-befe-882681e433d4" providerId="ADAL" clId="{C174D987-FF03-4492-A128-1FDDF419AD2D}" dt="2021-01-13T00:21:49.664" v="7158" actId="478"/>
          <ac:spMkLst>
            <pc:docMk/>
            <pc:sldMk cId="2986110700" sldId="1549"/>
            <ac:spMk id="7" creationId="{6C11DFCB-FCA9-4925-BC1F-23AD346E8CB1}"/>
          </ac:spMkLst>
        </pc:spChg>
        <pc:spChg chg="add mod">
          <ac:chgData name="Stacey Yi" userId="736affbd-34d5-4375-befe-882681e433d4" providerId="ADAL" clId="{C174D987-FF03-4492-A128-1FDDF419AD2D}" dt="2021-01-13T00:19:04.435" v="7117"/>
          <ac:spMkLst>
            <pc:docMk/>
            <pc:sldMk cId="2986110700" sldId="1549"/>
            <ac:spMk id="8" creationId="{5E7F6365-11DE-4125-9EB1-B2A2D7DD7F33}"/>
          </ac:spMkLst>
        </pc:spChg>
        <pc:spChg chg="add del mod">
          <ac:chgData name="Stacey Yi" userId="736affbd-34d5-4375-befe-882681e433d4" providerId="ADAL" clId="{C174D987-FF03-4492-A128-1FDDF419AD2D}" dt="2021-01-13T00:21:52.267" v="7159" actId="478"/>
          <ac:spMkLst>
            <pc:docMk/>
            <pc:sldMk cId="2986110700" sldId="1549"/>
            <ac:spMk id="9" creationId="{5ABCA897-55D7-47D9-8F67-1B602094F41C}"/>
          </ac:spMkLst>
        </pc:spChg>
        <pc:graphicFrameChg chg="mod modGraphic">
          <ac:chgData name="Stacey Yi" userId="736affbd-34d5-4375-befe-882681e433d4" providerId="ADAL" clId="{C174D987-FF03-4492-A128-1FDDF419AD2D}" dt="2021-01-13T00:19:33.472" v="7124" actId="14100"/>
          <ac:graphicFrameMkLst>
            <pc:docMk/>
            <pc:sldMk cId="2986110700" sldId="1549"/>
            <ac:graphicFrameMk id="5" creationId="{2479DF4A-AB7E-4682-8243-434E1AF8EFA0}"/>
          </ac:graphicFrameMkLst>
        </pc:graphicFrameChg>
        <pc:graphicFrameChg chg="add del mod modGraphic">
          <ac:chgData name="Stacey Yi" userId="736affbd-34d5-4375-befe-882681e433d4" providerId="ADAL" clId="{C174D987-FF03-4492-A128-1FDDF419AD2D}" dt="2021-01-13T00:22:44.217" v="7166" actId="14100"/>
          <ac:graphicFrameMkLst>
            <pc:docMk/>
            <pc:sldMk cId="2986110700" sldId="1549"/>
            <ac:graphicFrameMk id="6" creationId="{F85E9A17-63DC-4194-9790-87D5E485B69D}"/>
          </ac:graphicFrameMkLst>
        </pc:graphicFrameChg>
      </pc:sldChg>
      <pc:sldChg chg="addSp delSp modSp mod">
        <pc:chgData name="Stacey Yi" userId="736affbd-34d5-4375-befe-882681e433d4" providerId="ADAL" clId="{C174D987-FF03-4492-A128-1FDDF419AD2D}" dt="2021-01-13T00:31:36.496" v="7292" actId="478"/>
        <pc:sldMkLst>
          <pc:docMk/>
          <pc:sldMk cId="4196504506" sldId="1550"/>
        </pc:sldMkLst>
        <pc:spChg chg="del mod">
          <ac:chgData name="Stacey Yi" userId="736affbd-34d5-4375-befe-882681e433d4" providerId="ADAL" clId="{C174D987-FF03-4492-A128-1FDDF419AD2D}" dt="2021-01-13T00:31:24.204" v="7290" actId="478"/>
          <ac:spMkLst>
            <pc:docMk/>
            <pc:sldMk cId="4196504506" sldId="1550"/>
            <ac:spMk id="3" creationId="{CDD0AFB8-6795-4384-ACBC-6EEB61998ABF}"/>
          </ac:spMkLst>
        </pc:spChg>
        <pc:spChg chg="del mod">
          <ac:chgData name="Stacey Yi" userId="736affbd-34d5-4375-befe-882681e433d4" providerId="ADAL" clId="{C174D987-FF03-4492-A128-1FDDF419AD2D}" dt="2021-01-13T00:29:40.887" v="7260" actId="478"/>
          <ac:spMkLst>
            <pc:docMk/>
            <pc:sldMk cId="4196504506" sldId="1550"/>
            <ac:spMk id="6" creationId="{4D4422F7-4FDE-4FFA-A88E-C4A9B612947C}"/>
          </ac:spMkLst>
        </pc:spChg>
        <pc:spChg chg="add mod">
          <ac:chgData name="Stacey Yi" userId="736affbd-34d5-4375-befe-882681e433d4" providerId="ADAL" clId="{C174D987-FF03-4492-A128-1FDDF419AD2D}" dt="2021-01-13T00:24:37.577" v="7169"/>
          <ac:spMkLst>
            <pc:docMk/>
            <pc:sldMk cId="4196504506" sldId="1550"/>
            <ac:spMk id="8" creationId="{A14B200D-7AD6-4694-8909-152949F6FFBC}"/>
          </ac:spMkLst>
        </pc:spChg>
        <pc:spChg chg="add del mod">
          <ac:chgData name="Stacey Yi" userId="736affbd-34d5-4375-befe-882681e433d4" providerId="ADAL" clId="{C174D987-FF03-4492-A128-1FDDF419AD2D}" dt="2021-01-13T00:31:36.496" v="7292" actId="478"/>
          <ac:spMkLst>
            <pc:docMk/>
            <pc:sldMk cId="4196504506" sldId="1550"/>
            <ac:spMk id="9" creationId="{49AB52E8-FEAB-4692-A9E1-7135AE7E5A69}"/>
          </ac:spMkLst>
        </pc:spChg>
        <pc:graphicFrameChg chg="mod modGraphic">
          <ac:chgData name="Stacey Yi" userId="736affbd-34d5-4375-befe-882681e433d4" providerId="ADAL" clId="{C174D987-FF03-4492-A128-1FDDF419AD2D}" dt="2021-01-13T00:30:33.483" v="7274" actId="1036"/>
          <ac:graphicFrameMkLst>
            <pc:docMk/>
            <pc:sldMk cId="4196504506" sldId="1550"/>
            <ac:graphicFrameMk id="5" creationId="{7BF7FAF3-8113-4262-951A-A5C74B852E83}"/>
          </ac:graphicFrameMkLst>
        </pc:graphicFrameChg>
        <pc:graphicFrameChg chg="add mod modGraphic">
          <ac:chgData name="Stacey Yi" userId="736affbd-34d5-4375-befe-882681e433d4" providerId="ADAL" clId="{C174D987-FF03-4492-A128-1FDDF419AD2D}" dt="2021-01-13T00:31:19.593" v="7289" actId="1036"/>
          <ac:graphicFrameMkLst>
            <pc:docMk/>
            <pc:sldMk cId="4196504506" sldId="1550"/>
            <ac:graphicFrameMk id="7" creationId="{092C7952-3162-42B8-81B9-BC420A5ADBE9}"/>
          </ac:graphicFrameMkLst>
        </pc:graphicFrameChg>
      </pc:sldChg>
      <pc:sldChg chg="addSp delSp modSp mod">
        <pc:chgData name="Stacey Yi" userId="736affbd-34d5-4375-befe-882681e433d4" providerId="ADAL" clId="{C174D987-FF03-4492-A128-1FDDF419AD2D}" dt="2021-01-13T07:20:04.841" v="7419" actId="14100"/>
        <pc:sldMkLst>
          <pc:docMk/>
          <pc:sldMk cId="603129740" sldId="1551"/>
        </pc:sldMkLst>
        <pc:spChg chg="del mod">
          <ac:chgData name="Stacey Yi" userId="736affbd-34d5-4375-befe-882681e433d4" providerId="ADAL" clId="{C174D987-FF03-4492-A128-1FDDF419AD2D}" dt="2021-01-13T00:35:58.382" v="7411" actId="478"/>
          <ac:spMkLst>
            <pc:docMk/>
            <pc:sldMk cId="603129740" sldId="1551"/>
            <ac:spMk id="3" creationId="{6E0DBF35-739E-49F1-9AA6-E1429F90F301}"/>
          </ac:spMkLst>
        </pc:spChg>
        <pc:spChg chg="del mod">
          <ac:chgData name="Stacey Yi" userId="736affbd-34d5-4375-befe-882681e433d4" providerId="ADAL" clId="{C174D987-FF03-4492-A128-1FDDF419AD2D}" dt="2021-01-13T00:36:04.716" v="7413" actId="478"/>
          <ac:spMkLst>
            <pc:docMk/>
            <pc:sldMk cId="603129740" sldId="1551"/>
            <ac:spMk id="5" creationId="{1BFCF6B2-1CFE-4426-89E8-09BC7923056C}"/>
          </ac:spMkLst>
        </pc:spChg>
        <pc:spChg chg="add del mod">
          <ac:chgData name="Stacey Yi" userId="736affbd-34d5-4375-befe-882681e433d4" providerId="ADAL" clId="{C174D987-FF03-4492-A128-1FDDF419AD2D}" dt="2021-01-13T00:36:00.966" v="7412" actId="478"/>
          <ac:spMkLst>
            <pc:docMk/>
            <pc:sldMk cId="603129740" sldId="1551"/>
            <ac:spMk id="8" creationId="{59833BC5-B4B3-41CC-93F5-347053B3B046}"/>
          </ac:spMkLst>
        </pc:spChg>
        <pc:graphicFrameChg chg="mod modGraphic">
          <ac:chgData name="Stacey Yi" userId="736affbd-34d5-4375-befe-882681e433d4" providerId="ADAL" clId="{C174D987-FF03-4492-A128-1FDDF419AD2D}" dt="2021-01-13T00:32:29.432" v="7304" actId="14100"/>
          <ac:graphicFrameMkLst>
            <pc:docMk/>
            <pc:sldMk cId="603129740" sldId="1551"/>
            <ac:graphicFrameMk id="4" creationId="{CD4ADA8E-B39D-409E-A228-820EC402CA21}"/>
          </ac:graphicFrameMkLst>
        </pc:graphicFrameChg>
        <pc:graphicFrameChg chg="add mod modGraphic">
          <ac:chgData name="Stacey Yi" userId="736affbd-34d5-4375-befe-882681e433d4" providerId="ADAL" clId="{C174D987-FF03-4492-A128-1FDDF419AD2D}" dt="2021-01-13T07:20:04.841" v="7419" actId="14100"/>
          <ac:graphicFrameMkLst>
            <pc:docMk/>
            <pc:sldMk cId="603129740" sldId="1551"/>
            <ac:graphicFrameMk id="6" creationId="{DF9C304A-7691-496B-9165-76A9A826538D}"/>
          </ac:graphicFrameMkLst>
        </pc:graphicFrameChg>
      </pc:sldChg>
      <pc:sldChg chg="addSp delSp modSp mod">
        <pc:chgData name="Stacey Yi" userId="736affbd-34d5-4375-befe-882681e433d4" providerId="ADAL" clId="{C174D987-FF03-4492-A128-1FDDF419AD2D}" dt="2021-01-13T07:38:37.778" v="8018" actId="113"/>
        <pc:sldMkLst>
          <pc:docMk/>
          <pc:sldMk cId="3591097128" sldId="1552"/>
        </pc:sldMkLst>
        <pc:spChg chg="del mod">
          <ac:chgData name="Stacey Yi" userId="736affbd-34d5-4375-befe-882681e433d4" providerId="ADAL" clId="{C174D987-FF03-4492-A128-1FDDF419AD2D}" dt="2021-01-13T07:37:40.482" v="8007" actId="478"/>
          <ac:spMkLst>
            <pc:docMk/>
            <pc:sldMk cId="3591097128" sldId="1552"/>
            <ac:spMk id="3" creationId="{56500D71-7DDF-43A0-9BDB-49106371B3A5}"/>
          </ac:spMkLst>
        </pc:spChg>
        <pc:spChg chg="del mod">
          <ac:chgData name="Stacey Yi" userId="736affbd-34d5-4375-befe-882681e433d4" providerId="ADAL" clId="{C174D987-FF03-4492-A128-1FDDF419AD2D}" dt="2021-01-13T07:37:16.794" v="7990" actId="478"/>
          <ac:spMkLst>
            <pc:docMk/>
            <pc:sldMk cId="3591097128" sldId="1552"/>
            <ac:spMk id="5" creationId="{9A83CB93-D097-4604-BF56-4275D277238B}"/>
          </ac:spMkLst>
        </pc:spChg>
        <pc:spChg chg="add del mod">
          <ac:chgData name="Stacey Yi" userId="736affbd-34d5-4375-befe-882681e433d4" providerId="ADAL" clId="{C174D987-FF03-4492-A128-1FDDF419AD2D}" dt="2021-01-13T07:37:44.013" v="8008" actId="478"/>
          <ac:spMkLst>
            <pc:docMk/>
            <pc:sldMk cId="3591097128" sldId="1552"/>
            <ac:spMk id="8" creationId="{131160B4-B137-4C8C-9694-6645BB7777E4}"/>
          </ac:spMkLst>
        </pc:spChg>
        <pc:graphicFrameChg chg="mod">
          <ac:chgData name="Stacey Yi" userId="736affbd-34d5-4375-befe-882681e433d4" providerId="ADAL" clId="{C174D987-FF03-4492-A128-1FDDF419AD2D}" dt="2021-01-13T07:37:30.564" v="8004" actId="1036"/>
          <ac:graphicFrameMkLst>
            <pc:docMk/>
            <pc:sldMk cId="3591097128" sldId="1552"/>
            <ac:graphicFrameMk id="4" creationId="{D1D9CBCE-D60C-4BD2-829F-483AFD162729}"/>
          </ac:graphicFrameMkLst>
        </pc:graphicFrameChg>
        <pc:graphicFrameChg chg="add mod modGraphic">
          <ac:chgData name="Stacey Yi" userId="736affbd-34d5-4375-befe-882681e433d4" providerId="ADAL" clId="{C174D987-FF03-4492-A128-1FDDF419AD2D}" dt="2021-01-13T07:38:37.778" v="8018" actId="113"/>
          <ac:graphicFrameMkLst>
            <pc:docMk/>
            <pc:sldMk cId="3591097128" sldId="1552"/>
            <ac:graphicFrameMk id="6" creationId="{D8BFCCE4-9213-4FAA-9776-21C0BB5AAAF1}"/>
          </ac:graphicFrameMkLst>
        </pc:graphicFrameChg>
      </pc:sldChg>
      <pc:sldChg chg="addSp delSp modSp mod">
        <pc:chgData name="Stacey Yi" userId="736affbd-34d5-4375-befe-882681e433d4" providerId="ADAL" clId="{C174D987-FF03-4492-A128-1FDDF419AD2D}" dt="2021-01-13T07:50:41.001" v="8183" actId="478"/>
        <pc:sldMkLst>
          <pc:docMk/>
          <pc:sldMk cId="2001774138" sldId="1553"/>
        </pc:sldMkLst>
        <pc:spChg chg="del mod">
          <ac:chgData name="Stacey Yi" userId="736affbd-34d5-4375-befe-882681e433d4" providerId="ADAL" clId="{C174D987-FF03-4492-A128-1FDDF419AD2D}" dt="2021-01-13T07:50:35.130" v="8182" actId="478"/>
          <ac:spMkLst>
            <pc:docMk/>
            <pc:sldMk cId="2001774138" sldId="1553"/>
            <ac:spMk id="3" creationId="{D497B01A-0F82-4597-8679-2FEF3C882560}"/>
          </ac:spMkLst>
        </pc:spChg>
        <pc:spChg chg="mod">
          <ac:chgData name="Stacey Yi" userId="736affbd-34d5-4375-befe-882681e433d4" providerId="ADAL" clId="{C174D987-FF03-4492-A128-1FDDF419AD2D}" dt="2021-01-13T07:50:29.574" v="8181" actId="1037"/>
          <ac:spMkLst>
            <pc:docMk/>
            <pc:sldMk cId="2001774138" sldId="1553"/>
            <ac:spMk id="6" creationId="{E4F01662-D5F8-4635-B719-7DF00B07E483}"/>
          </ac:spMkLst>
        </pc:spChg>
        <pc:spChg chg="add del mod">
          <ac:chgData name="Stacey Yi" userId="736affbd-34d5-4375-befe-882681e433d4" providerId="ADAL" clId="{C174D987-FF03-4492-A128-1FDDF419AD2D}" dt="2021-01-13T07:50:41.001" v="8183" actId="478"/>
          <ac:spMkLst>
            <pc:docMk/>
            <pc:sldMk cId="2001774138" sldId="1553"/>
            <ac:spMk id="8" creationId="{918C9C8C-DBF4-406F-9887-5B088993ADD7}"/>
          </ac:spMkLst>
        </pc:spChg>
        <pc:graphicFrameChg chg="mod modGraphic">
          <ac:chgData name="Stacey Yi" userId="736affbd-34d5-4375-befe-882681e433d4" providerId="ADAL" clId="{C174D987-FF03-4492-A128-1FDDF419AD2D}" dt="2021-01-13T07:50:25.263" v="8170" actId="1035"/>
          <ac:graphicFrameMkLst>
            <pc:docMk/>
            <pc:sldMk cId="2001774138" sldId="1553"/>
            <ac:graphicFrameMk id="4" creationId="{6F75CA39-51EA-4502-A357-0B5F6B37C335}"/>
          </ac:graphicFrameMkLst>
        </pc:graphicFrameChg>
        <pc:graphicFrameChg chg="add mod modGraphic">
          <ac:chgData name="Stacey Yi" userId="736affbd-34d5-4375-befe-882681e433d4" providerId="ADAL" clId="{C174D987-FF03-4492-A128-1FDDF419AD2D}" dt="2021-01-13T07:50:22.985" v="8169" actId="1035"/>
          <ac:graphicFrameMkLst>
            <pc:docMk/>
            <pc:sldMk cId="2001774138" sldId="1553"/>
            <ac:graphicFrameMk id="7" creationId="{5F96860B-3852-4630-909A-7172D05DE093}"/>
          </ac:graphicFrameMkLst>
        </pc:graphicFrameChg>
      </pc:sldChg>
      <pc:sldChg chg="addSp delSp modSp mod">
        <pc:chgData name="Stacey Yi" userId="736affbd-34d5-4375-befe-882681e433d4" providerId="ADAL" clId="{C174D987-FF03-4492-A128-1FDDF419AD2D}" dt="2021-01-13T07:56:15.095" v="8295" actId="478"/>
        <pc:sldMkLst>
          <pc:docMk/>
          <pc:sldMk cId="624541904" sldId="1554"/>
        </pc:sldMkLst>
        <pc:spChg chg="del mod">
          <ac:chgData name="Stacey Yi" userId="736affbd-34d5-4375-befe-882681e433d4" providerId="ADAL" clId="{C174D987-FF03-4492-A128-1FDDF419AD2D}" dt="2021-01-13T07:56:08.086" v="8293" actId="478"/>
          <ac:spMkLst>
            <pc:docMk/>
            <pc:sldMk cId="624541904" sldId="1554"/>
            <ac:spMk id="3" creationId="{E18F122F-BE4A-49D9-976A-F3668F7BA406}"/>
          </ac:spMkLst>
        </pc:spChg>
        <pc:spChg chg="del mod">
          <ac:chgData name="Stacey Yi" userId="736affbd-34d5-4375-befe-882681e433d4" providerId="ADAL" clId="{C174D987-FF03-4492-A128-1FDDF419AD2D}" dt="2021-01-13T07:56:15.095" v="8295" actId="478"/>
          <ac:spMkLst>
            <pc:docMk/>
            <pc:sldMk cId="624541904" sldId="1554"/>
            <ac:spMk id="5" creationId="{B5322C5A-2298-4CB7-9BED-D94958C170EC}"/>
          </ac:spMkLst>
        </pc:spChg>
        <pc:spChg chg="add mod">
          <ac:chgData name="Stacey Yi" userId="736affbd-34d5-4375-befe-882681e433d4" providerId="ADAL" clId="{C174D987-FF03-4492-A128-1FDDF419AD2D}" dt="2021-01-13T07:51:07.994" v="8187"/>
          <ac:spMkLst>
            <pc:docMk/>
            <pc:sldMk cId="624541904" sldId="1554"/>
            <ac:spMk id="7" creationId="{C5227271-1CDD-4829-A3EC-268D68EB71DD}"/>
          </ac:spMkLst>
        </pc:spChg>
        <pc:spChg chg="add del mod">
          <ac:chgData name="Stacey Yi" userId="736affbd-34d5-4375-befe-882681e433d4" providerId="ADAL" clId="{C174D987-FF03-4492-A128-1FDDF419AD2D}" dt="2021-01-13T07:56:13.134" v="8294" actId="478"/>
          <ac:spMkLst>
            <pc:docMk/>
            <pc:sldMk cId="624541904" sldId="1554"/>
            <ac:spMk id="9" creationId="{4D557BE9-7DE3-4D22-B445-7BDDC91C6AAB}"/>
          </ac:spMkLst>
        </pc:spChg>
        <pc:graphicFrameChg chg="mod modGraphic">
          <ac:chgData name="Stacey Yi" userId="736affbd-34d5-4375-befe-882681e433d4" providerId="ADAL" clId="{C174D987-FF03-4492-A128-1FDDF419AD2D}" dt="2021-01-13T07:55:47.928" v="8292" actId="1036"/>
          <ac:graphicFrameMkLst>
            <pc:docMk/>
            <pc:sldMk cId="624541904" sldId="1554"/>
            <ac:graphicFrameMk id="4" creationId="{61DA3BDF-0539-4D44-96DC-FA33840495F6}"/>
          </ac:graphicFrameMkLst>
        </pc:graphicFrameChg>
        <pc:graphicFrameChg chg="add mod modGraphic">
          <ac:chgData name="Stacey Yi" userId="736affbd-34d5-4375-befe-882681e433d4" providerId="ADAL" clId="{C174D987-FF03-4492-A128-1FDDF419AD2D}" dt="2021-01-13T07:55:43.772" v="8289" actId="255"/>
          <ac:graphicFrameMkLst>
            <pc:docMk/>
            <pc:sldMk cId="624541904" sldId="1554"/>
            <ac:graphicFrameMk id="6" creationId="{E80D8F46-43CE-43DB-A528-F2051C31863C}"/>
          </ac:graphicFrameMkLst>
        </pc:graphicFrameChg>
      </pc:sldChg>
      <pc:sldChg chg="addSp delSp modSp mod">
        <pc:chgData name="Stacey Yi" userId="736affbd-34d5-4375-befe-882681e433d4" providerId="ADAL" clId="{C174D987-FF03-4492-A128-1FDDF419AD2D}" dt="2021-01-13T08:18:25.487" v="8833" actId="113"/>
        <pc:sldMkLst>
          <pc:docMk/>
          <pc:sldMk cId="638657131" sldId="1555"/>
        </pc:sldMkLst>
        <pc:spChg chg="del mod">
          <ac:chgData name="Stacey Yi" userId="736affbd-34d5-4375-befe-882681e433d4" providerId="ADAL" clId="{C174D987-FF03-4492-A128-1FDDF419AD2D}" dt="2021-01-13T07:58:11.586" v="8353" actId="478"/>
          <ac:spMkLst>
            <pc:docMk/>
            <pc:sldMk cId="638657131" sldId="1555"/>
            <ac:spMk id="3" creationId="{E4467AED-E78C-4634-8645-D56FD55DC8B0}"/>
          </ac:spMkLst>
        </pc:spChg>
        <pc:spChg chg="del mod">
          <ac:chgData name="Stacey Yi" userId="736affbd-34d5-4375-befe-882681e433d4" providerId="ADAL" clId="{C174D987-FF03-4492-A128-1FDDF419AD2D}" dt="2021-01-13T07:59:50.291" v="8355" actId="478"/>
          <ac:spMkLst>
            <pc:docMk/>
            <pc:sldMk cId="638657131" sldId="1555"/>
            <ac:spMk id="5" creationId="{270C8C4C-17E1-47C1-8D5E-218FAD7FB993}"/>
          </ac:spMkLst>
        </pc:spChg>
        <pc:spChg chg="add mod">
          <ac:chgData name="Stacey Yi" userId="736affbd-34d5-4375-befe-882681e433d4" providerId="ADAL" clId="{C174D987-FF03-4492-A128-1FDDF419AD2D}" dt="2021-01-13T07:57:00.284" v="8307"/>
          <ac:spMkLst>
            <pc:docMk/>
            <pc:sldMk cId="638657131" sldId="1555"/>
            <ac:spMk id="7" creationId="{37083922-5AEF-4B4D-9714-23101EA40684}"/>
          </ac:spMkLst>
        </pc:spChg>
        <pc:spChg chg="add del mod">
          <ac:chgData name="Stacey Yi" userId="736affbd-34d5-4375-befe-882681e433d4" providerId="ADAL" clId="{C174D987-FF03-4492-A128-1FDDF419AD2D}" dt="2021-01-13T07:59:38.254" v="8354" actId="478"/>
          <ac:spMkLst>
            <pc:docMk/>
            <pc:sldMk cId="638657131" sldId="1555"/>
            <ac:spMk id="9" creationId="{A87B2700-EEAD-4232-B163-F782FC937A7D}"/>
          </ac:spMkLst>
        </pc:spChg>
        <pc:graphicFrameChg chg="mod modGraphic">
          <ac:chgData name="Stacey Yi" userId="736affbd-34d5-4375-befe-882681e433d4" providerId="ADAL" clId="{C174D987-FF03-4492-A128-1FDDF419AD2D}" dt="2021-01-13T08:00:01.416" v="8364" actId="1035"/>
          <ac:graphicFrameMkLst>
            <pc:docMk/>
            <pc:sldMk cId="638657131" sldId="1555"/>
            <ac:graphicFrameMk id="4" creationId="{5AAFDEE7-0136-4903-BE3C-6D3815F2F01D}"/>
          </ac:graphicFrameMkLst>
        </pc:graphicFrameChg>
        <pc:graphicFrameChg chg="add mod modGraphic">
          <ac:chgData name="Stacey Yi" userId="736affbd-34d5-4375-befe-882681e433d4" providerId="ADAL" clId="{C174D987-FF03-4492-A128-1FDDF419AD2D}" dt="2021-01-13T08:18:25.487" v="8833" actId="113"/>
          <ac:graphicFrameMkLst>
            <pc:docMk/>
            <pc:sldMk cId="638657131" sldId="1555"/>
            <ac:graphicFrameMk id="6" creationId="{CAB99820-C1FC-4996-BDA0-07B2C2B12D09}"/>
          </ac:graphicFrameMkLst>
        </pc:graphicFrameChg>
      </pc:sldChg>
      <pc:sldChg chg="modSp mod addCm modCm">
        <pc:chgData name="Stacey Yi" userId="736affbd-34d5-4375-befe-882681e433d4" providerId="ADAL" clId="{C174D987-FF03-4492-A128-1FDDF419AD2D}" dt="2021-01-13T08:04:46.091" v="8402" actId="1076"/>
        <pc:sldMkLst>
          <pc:docMk/>
          <pc:sldMk cId="1604107411" sldId="1556"/>
        </pc:sldMkLst>
        <pc:graphicFrameChg chg="mod">
          <ac:chgData name="Stacey Yi" userId="736affbd-34d5-4375-befe-882681e433d4" providerId="ADAL" clId="{C174D987-FF03-4492-A128-1FDDF419AD2D}" dt="2021-01-13T08:04:46.091" v="8402" actId="1076"/>
          <ac:graphicFrameMkLst>
            <pc:docMk/>
            <pc:sldMk cId="1604107411" sldId="1556"/>
            <ac:graphicFrameMk id="4" creationId="{8E57F77A-2FB3-474B-BC1A-15F2CE39B360}"/>
          </ac:graphicFrameMkLst>
        </pc:graphicFrameChg>
      </pc:sldChg>
      <pc:sldChg chg="addSp delSp modSp mod addCm modCm">
        <pc:chgData name="Stacey Yi" userId="736affbd-34d5-4375-befe-882681e433d4" providerId="ADAL" clId="{C174D987-FF03-4492-A128-1FDDF419AD2D}" dt="2021-01-13T08:04:57.148" v="8414" actId="1035"/>
        <pc:sldMkLst>
          <pc:docMk/>
          <pc:sldMk cId="1559749281" sldId="1557"/>
        </pc:sldMkLst>
        <pc:spChg chg="del">
          <ac:chgData name="Stacey Yi" userId="736affbd-34d5-4375-befe-882681e433d4" providerId="ADAL" clId="{C174D987-FF03-4492-A128-1FDDF419AD2D}" dt="2021-01-13T08:01:53.686" v="8369" actId="478"/>
          <ac:spMkLst>
            <pc:docMk/>
            <pc:sldMk cId="1559749281" sldId="1557"/>
            <ac:spMk id="3" creationId="{8F09C89A-1973-4EB4-AB37-BD013019C0E4}"/>
          </ac:spMkLst>
        </pc:spChg>
        <pc:spChg chg="mod">
          <ac:chgData name="Stacey Yi" userId="736affbd-34d5-4375-befe-882681e433d4" providerId="ADAL" clId="{C174D987-FF03-4492-A128-1FDDF419AD2D}" dt="2021-01-13T08:04:57.148" v="8414" actId="1035"/>
          <ac:spMkLst>
            <pc:docMk/>
            <pc:sldMk cId="1559749281" sldId="1557"/>
            <ac:spMk id="5" creationId="{FDC55CE7-83E8-45E8-869A-4DDA3816B750}"/>
          </ac:spMkLst>
        </pc:spChg>
        <pc:spChg chg="add del mod">
          <ac:chgData name="Stacey Yi" userId="736affbd-34d5-4375-befe-882681e433d4" providerId="ADAL" clId="{C174D987-FF03-4492-A128-1FDDF419AD2D}" dt="2021-01-13T08:01:55.725" v="8370" actId="478"/>
          <ac:spMkLst>
            <pc:docMk/>
            <pc:sldMk cId="1559749281" sldId="1557"/>
            <ac:spMk id="7" creationId="{D27AD2D4-3C5A-4EA1-8CF0-431841E3993F}"/>
          </ac:spMkLst>
        </pc:spChg>
        <pc:spChg chg="add mod">
          <ac:chgData name="Stacey Yi" userId="736affbd-34d5-4375-befe-882681e433d4" providerId="ADAL" clId="{C174D987-FF03-4492-A128-1FDDF419AD2D}" dt="2021-01-13T08:04:02.700" v="8394" actId="1038"/>
          <ac:spMkLst>
            <pc:docMk/>
            <pc:sldMk cId="1559749281" sldId="1557"/>
            <ac:spMk id="8" creationId="{E3AD9C5B-785E-4C6D-ACC5-DB0B98984B40}"/>
          </ac:spMkLst>
        </pc:spChg>
        <pc:graphicFrameChg chg="mod">
          <ac:chgData name="Stacey Yi" userId="736affbd-34d5-4375-befe-882681e433d4" providerId="ADAL" clId="{C174D987-FF03-4492-A128-1FDDF419AD2D}" dt="2021-01-13T08:04:52.398" v="8403" actId="1076"/>
          <ac:graphicFrameMkLst>
            <pc:docMk/>
            <pc:sldMk cId="1559749281" sldId="1557"/>
            <ac:graphicFrameMk id="4" creationId="{02536408-6065-4F89-A17A-085267193A30}"/>
          </ac:graphicFrameMkLst>
        </pc:graphicFrameChg>
      </pc:sldChg>
      <pc:sldChg chg="addSp delSp modSp mod addCm modCm">
        <pc:chgData name="Stacey Yi" userId="736affbd-34d5-4375-befe-882681e433d4" providerId="ADAL" clId="{C174D987-FF03-4492-A128-1FDDF419AD2D}" dt="2021-01-13T08:40:03.728" v="9518" actId="113"/>
        <pc:sldMkLst>
          <pc:docMk/>
          <pc:sldMk cId="3458141779" sldId="1559"/>
        </pc:sldMkLst>
        <pc:spChg chg="del mod">
          <ac:chgData name="Stacey Yi" userId="736affbd-34d5-4375-befe-882681e433d4" providerId="ADAL" clId="{C174D987-FF03-4492-A128-1FDDF419AD2D}" dt="2021-01-13T08:13:27.483" v="8474" actId="478"/>
          <ac:spMkLst>
            <pc:docMk/>
            <pc:sldMk cId="3458141779" sldId="1559"/>
            <ac:spMk id="3" creationId="{B1F87A56-3285-480B-BDDF-91B814DF3C0E}"/>
          </ac:spMkLst>
        </pc:spChg>
        <pc:spChg chg="del mod">
          <ac:chgData name="Stacey Yi" userId="736affbd-34d5-4375-befe-882681e433d4" providerId="ADAL" clId="{C174D987-FF03-4492-A128-1FDDF419AD2D}" dt="2021-01-13T08:13:44.083" v="8477" actId="478"/>
          <ac:spMkLst>
            <pc:docMk/>
            <pc:sldMk cId="3458141779" sldId="1559"/>
            <ac:spMk id="6" creationId="{8993D53C-819E-4CB9-98A8-41A818536FBE}"/>
          </ac:spMkLst>
        </pc:spChg>
        <pc:spChg chg="add del mod">
          <ac:chgData name="Stacey Yi" userId="736affbd-34d5-4375-befe-882681e433d4" providerId="ADAL" clId="{C174D987-FF03-4492-A128-1FDDF419AD2D}" dt="2021-01-13T08:13:30.634" v="8475" actId="478"/>
          <ac:spMkLst>
            <pc:docMk/>
            <pc:sldMk cId="3458141779" sldId="1559"/>
            <ac:spMk id="8" creationId="{11202E20-F7A9-4C4E-8120-23CFC451DCEB}"/>
          </ac:spMkLst>
        </pc:spChg>
        <pc:graphicFrameChg chg="mod modGraphic">
          <ac:chgData name="Stacey Yi" userId="736affbd-34d5-4375-befe-882681e433d4" providerId="ADAL" clId="{C174D987-FF03-4492-A128-1FDDF419AD2D}" dt="2021-01-13T08:08:54.085" v="8454" actId="1076"/>
          <ac:graphicFrameMkLst>
            <pc:docMk/>
            <pc:sldMk cId="3458141779" sldId="1559"/>
            <ac:graphicFrameMk id="4" creationId="{53CE6FFE-FB19-4DD7-B932-229FD7FEDB6A}"/>
          </ac:graphicFrameMkLst>
        </pc:graphicFrameChg>
        <pc:graphicFrameChg chg="add mod modGraphic">
          <ac:chgData name="Stacey Yi" userId="736affbd-34d5-4375-befe-882681e433d4" providerId="ADAL" clId="{C174D987-FF03-4492-A128-1FDDF419AD2D}" dt="2021-01-13T08:40:03.728" v="9518" actId="113"/>
          <ac:graphicFrameMkLst>
            <pc:docMk/>
            <pc:sldMk cId="3458141779" sldId="1559"/>
            <ac:graphicFrameMk id="7" creationId="{E2B1A5E9-849D-4E57-ABDB-A33E59E7EAD4}"/>
          </ac:graphicFrameMkLst>
        </pc:graphicFrameChg>
      </pc:sldChg>
      <pc:sldChg chg="addSp delSp modSp mod">
        <pc:chgData name="Stacey Yi" userId="736affbd-34d5-4375-befe-882681e433d4" providerId="ADAL" clId="{C174D987-FF03-4492-A128-1FDDF419AD2D}" dt="2021-01-13T08:40:59.698" v="9625" actId="14734"/>
        <pc:sldMkLst>
          <pc:docMk/>
          <pc:sldMk cId="1029816514" sldId="1560"/>
        </pc:sldMkLst>
        <pc:spChg chg="del mod">
          <ac:chgData name="Stacey Yi" userId="736affbd-34d5-4375-befe-882681e433d4" providerId="ADAL" clId="{C174D987-FF03-4492-A128-1FDDF419AD2D}" dt="2021-01-13T08:18:04.365" v="8830" actId="478"/>
          <ac:spMkLst>
            <pc:docMk/>
            <pc:sldMk cId="1029816514" sldId="1560"/>
            <ac:spMk id="3" creationId="{8542BB72-165F-4654-BAE1-53456FF0020F}"/>
          </ac:spMkLst>
        </pc:spChg>
        <pc:spChg chg="del mod">
          <ac:chgData name="Stacey Yi" userId="736affbd-34d5-4375-befe-882681e433d4" providerId="ADAL" clId="{C174D987-FF03-4492-A128-1FDDF419AD2D}" dt="2021-01-13T08:16:54.390" v="8815" actId="478"/>
          <ac:spMkLst>
            <pc:docMk/>
            <pc:sldMk cId="1029816514" sldId="1560"/>
            <ac:spMk id="5" creationId="{F813F9B4-8FDB-4A4F-AE9D-C7C2D1E01383}"/>
          </ac:spMkLst>
        </pc:spChg>
        <pc:spChg chg="add mod">
          <ac:chgData name="Stacey Yi" userId="736affbd-34d5-4375-befe-882681e433d4" providerId="ADAL" clId="{C174D987-FF03-4492-A128-1FDDF419AD2D}" dt="2021-01-13T08:14:47.442" v="8483"/>
          <ac:spMkLst>
            <pc:docMk/>
            <pc:sldMk cId="1029816514" sldId="1560"/>
            <ac:spMk id="7" creationId="{10807AF9-72F0-469C-A3DC-A9761E350931}"/>
          </ac:spMkLst>
        </pc:spChg>
        <pc:spChg chg="add del mod">
          <ac:chgData name="Stacey Yi" userId="736affbd-34d5-4375-befe-882681e433d4" providerId="ADAL" clId="{C174D987-FF03-4492-A128-1FDDF419AD2D}" dt="2021-01-13T08:18:06.932" v="8831" actId="478"/>
          <ac:spMkLst>
            <pc:docMk/>
            <pc:sldMk cId="1029816514" sldId="1560"/>
            <ac:spMk id="9" creationId="{7F57D66F-58B2-41B1-B5D3-56242F20B47C}"/>
          </ac:spMkLst>
        </pc:spChg>
        <pc:graphicFrameChg chg="mod modGraphic">
          <ac:chgData name="Stacey Yi" userId="736affbd-34d5-4375-befe-882681e433d4" providerId="ADAL" clId="{C174D987-FF03-4492-A128-1FDDF419AD2D}" dt="2021-01-13T08:17:06.997" v="8817" actId="14100"/>
          <ac:graphicFrameMkLst>
            <pc:docMk/>
            <pc:sldMk cId="1029816514" sldId="1560"/>
            <ac:graphicFrameMk id="4" creationId="{888A20E8-5A16-48A7-993D-5DDB8B1F1B7F}"/>
          </ac:graphicFrameMkLst>
        </pc:graphicFrameChg>
        <pc:graphicFrameChg chg="add mod modGraphic">
          <ac:chgData name="Stacey Yi" userId="736affbd-34d5-4375-befe-882681e433d4" providerId="ADAL" clId="{C174D987-FF03-4492-A128-1FDDF419AD2D}" dt="2021-01-13T08:40:59.698" v="9625" actId="14734"/>
          <ac:graphicFrameMkLst>
            <pc:docMk/>
            <pc:sldMk cId="1029816514" sldId="1560"/>
            <ac:graphicFrameMk id="6" creationId="{678FD964-803E-4113-8D5E-7B81B4EF9FCA}"/>
          </ac:graphicFrameMkLst>
        </pc:graphicFrameChg>
      </pc:sldChg>
      <pc:sldChg chg="addSp delSp modSp mod">
        <pc:chgData name="Stacey Yi" userId="736affbd-34d5-4375-befe-882681e433d4" providerId="ADAL" clId="{C174D987-FF03-4492-A128-1FDDF419AD2D}" dt="2021-01-13T08:22:18.899" v="8896" actId="478"/>
        <pc:sldMkLst>
          <pc:docMk/>
          <pc:sldMk cId="3898553200" sldId="1561"/>
        </pc:sldMkLst>
        <pc:spChg chg="del mod">
          <ac:chgData name="Stacey Yi" userId="736affbd-34d5-4375-befe-882681e433d4" providerId="ADAL" clId="{C174D987-FF03-4492-A128-1FDDF419AD2D}" dt="2021-01-13T08:22:12.489" v="8895" actId="478"/>
          <ac:spMkLst>
            <pc:docMk/>
            <pc:sldMk cId="3898553200" sldId="1561"/>
            <ac:spMk id="3" creationId="{7F1AD638-E3A5-4B16-89B0-224512DE9C97}"/>
          </ac:spMkLst>
        </pc:spChg>
        <pc:spChg chg="del mod">
          <ac:chgData name="Stacey Yi" userId="736affbd-34d5-4375-befe-882681e433d4" providerId="ADAL" clId="{C174D987-FF03-4492-A128-1FDDF419AD2D}" dt="2021-01-13T08:21:42.185" v="8871" actId="478"/>
          <ac:spMkLst>
            <pc:docMk/>
            <pc:sldMk cId="3898553200" sldId="1561"/>
            <ac:spMk id="5" creationId="{89D64620-F06C-402B-B546-DDB37B0A3A4D}"/>
          </ac:spMkLst>
        </pc:spChg>
        <pc:spChg chg="add mod">
          <ac:chgData name="Stacey Yi" userId="736affbd-34d5-4375-befe-882681e433d4" providerId="ADAL" clId="{C174D987-FF03-4492-A128-1FDDF419AD2D}" dt="2021-01-13T08:19:00.998" v="8838"/>
          <ac:spMkLst>
            <pc:docMk/>
            <pc:sldMk cId="3898553200" sldId="1561"/>
            <ac:spMk id="7" creationId="{ADA70B46-1302-4E78-8CC8-C55EA70F6940}"/>
          </ac:spMkLst>
        </pc:spChg>
        <pc:spChg chg="add del mod">
          <ac:chgData name="Stacey Yi" userId="736affbd-34d5-4375-befe-882681e433d4" providerId="ADAL" clId="{C174D987-FF03-4492-A128-1FDDF419AD2D}" dt="2021-01-13T08:22:18.899" v="8896" actId="478"/>
          <ac:spMkLst>
            <pc:docMk/>
            <pc:sldMk cId="3898553200" sldId="1561"/>
            <ac:spMk id="9" creationId="{9CB648C2-65B7-4BB4-93DD-8C5C2D8EAF72}"/>
          </ac:spMkLst>
        </pc:spChg>
        <pc:graphicFrameChg chg="mod modGraphic">
          <ac:chgData name="Stacey Yi" userId="736affbd-34d5-4375-befe-882681e433d4" providerId="ADAL" clId="{C174D987-FF03-4492-A128-1FDDF419AD2D}" dt="2021-01-13T08:22:04.121" v="8893" actId="1036"/>
          <ac:graphicFrameMkLst>
            <pc:docMk/>
            <pc:sldMk cId="3898553200" sldId="1561"/>
            <ac:graphicFrameMk id="4" creationId="{EB50415A-2F01-42DD-A9F1-F7849963CB18}"/>
          </ac:graphicFrameMkLst>
        </pc:graphicFrameChg>
        <pc:graphicFrameChg chg="add mod modGraphic">
          <ac:chgData name="Stacey Yi" userId="736affbd-34d5-4375-befe-882681e433d4" providerId="ADAL" clId="{C174D987-FF03-4492-A128-1FDDF419AD2D}" dt="2021-01-13T08:22:09.119" v="8894" actId="1036"/>
          <ac:graphicFrameMkLst>
            <pc:docMk/>
            <pc:sldMk cId="3898553200" sldId="1561"/>
            <ac:graphicFrameMk id="6" creationId="{A889A824-9B61-4898-B61A-F9CD5BB31B01}"/>
          </ac:graphicFrameMkLst>
        </pc:graphicFrameChg>
      </pc:sldChg>
      <pc:sldChg chg="addSp delSp modSp mod">
        <pc:chgData name="Stacey Yi" userId="736affbd-34d5-4375-befe-882681e433d4" providerId="ADAL" clId="{C174D987-FF03-4492-A128-1FDDF419AD2D}" dt="2021-01-13T08:27:58.074" v="8975" actId="478"/>
        <pc:sldMkLst>
          <pc:docMk/>
          <pc:sldMk cId="827770974" sldId="1562"/>
        </pc:sldMkLst>
        <pc:spChg chg="del mod">
          <ac:chgData name="Stacey Yi" userId="736affbd-34d5-4375-befe-882681e433d4" providerId="ADAL" clId="{C174D987-FF03-4492-A128-1FDDF419AD2D}" dt="2021-01-13T08:27:55.266" v="8974" actId="478"/>
          <ac:spMkLst>
            <pc:docMk/>
            <pc:sldMk cId="827770974" sldId="1562"/>
            <ac:spMk id="3" creationId="{233E5769-1521-4683-8C73-366E7264BFF1}"/>
          </ac:spMkLst>
        </pc:spChg>
        <pc:spChg chg="del mod">
          <ac:chgData name="Stacey Yi" userId="736affbd-34d5-4375-befe-882681e433d4" providerId="ADAL" clId="{C174D987-FF03-4492-A128-1FDDF419AD2D}" dt="2021-01-13T08:27:49.197" v="8973" actId="478"/>
          <ac:spMkLst>
            <pc:docMk/>
            <pc:sldMk cId="827770974" sldId="1562"/>
            <ac:spMk id="5" creationId="{5861E71E-0DD8-4FA0-BDB4-F9B8C68E0A9E}"/>
          </ac:spMkLst>
        </pc:spChg>
        <pc:spChg chg="add del mod">
          <ac:chgData name="Stacey Yi" userId="736affbd-34d5-4375-befe-882681e433d4" providerId="ADAL" clId="{C174D987-FF03-4492-A128-1FDDF419AD2D}" dt="2021-01-13T08:27:58.074" v="8975" actId="478"/>
          <ac:spMkLst>
            <pc:docMk/>
            <pc:sldMk cId="827770974" sldId="1562"/>
            <ac:spMk id="8" creationId="{8F91AF57-EB43-4F1F-BDB9-F7B837373FC9}"/>
          </ac:spMkLst>
        </pc:spChg>
        <pc:graphicFrameChg chg="mod modGraphic">
          <ac:chgData name="Stacey Yi" userId="736affbd-34d5-4375-befe-882681e433d4" providerId="ADAL" clId="{C174D987-FF03-4492-A128-1FDDF419AD2D}" dt="2021-01-13T08:23:15.571" v="8917" actId="1036"/>
          <ac:graphicFrameMkLst>
            <pc:docMk/>
            <pc:sldMk cId="827770974" sldId="1562"/>
            <ac:graphicFrameMk id="4" creationId="{90AFF0BF-F089-4EBE-A7EA-06D72A80AE11}"/>
          </ac:graphicFrameMkLst>
        </pc:graphicFrameChg>
        <pc:graphicFrameChg chg="add mod modGraphic">
          <ac:chgData name="Stacey Yi" userId="736affbd-34d5-4375-befe-882681e433d4" providerId="ADAL" clId="{C174D987-FF03-4492-A128-1FDDF419AD2D}" dt="2021-01-13T08:27:44.271" v="8972" actId="1036"/>
          <ac:graphicFrameMkLst>
            <pc:docMk/>
            <pc:sldMk cId="827770974" sldId="1562"/>
            <ac:graphicFrameMk id="6" creationId="{94CFF6CF-D99D-4A46-BFD4-6624899CD79E}"/>
          </ac:graphicFrameMkLst>
        </pc:graphicFrameChg>
      </pc:sldChg>
      <pc:sldChg chg="addSp delSp modSp mod">
        <pc:chgData name="Stacey Yi" userId="736affbd-34d5-4375-befe-882681e433d4" providerId="ADAL" clId="{C174D987-FF03-4492-A128-1FDDF419AD2D}" dt="2021-01-13T08:31:49.958" v="9120" actId="478"/>
        <pc:sldMkLst>
          <pc:docMk/>
          <pc:sldMk cId="1694219525" sldId="1563"/>
        </pc:sldMkLst>
        <pc:spChg chg="del mod">
          <ac:chgData name="Stacey Yi" userId="736affbd-34d5-4375-befe-882681e433d4" providerId="ADAL" clId="{C174D987-FF03-4492-A128-1FDDF419AD2D}" dt="2021-01-13T08:31:31.884" v="9117" actId="478"/>
          <ac:spMkLst>
            <pc:docMk/>
            <pc:sldMk cId="1694219525" sldId="1563"/>
            <ac:spMk id="3" creationId="{1FEC2D7E-85C8-47AD-97CD-AE676F031E8B}"/>
          </ac:spMkLst>
        </pc:spChg>
        <pc:spChg chg="del mod">
          <ac:chgData name="Stacey Yi" userId="736affbd-34d5-4375-befe-882681e433d4" providerId="ADAL" clId="{C174D987-FF03-4492-A128-1FDDF419AD2D}" dt="2021-01-13T08:31:49.958" v="9120" actId="478"/>
          <ac:spMkLst>
            <pc:docMk/>
            <pc:sldMk cId="1694219525" sldId="1563"/>
            <ac:spMk id="6" creationId="{40800BA6-1E07-4BEC-BE51-74688EF406A8}"/>
          </ac:spMkLst>
        </pc:spChg>
        <pc:spChg chg="add mod">
          <ac:chgData name="Stacey Yi" userId="736affbd-34d5-4375-befe-882681e433d4" providerId="ADAL" clId="{C174D987-FF03-4492-A128-1FDDF419AD2D}" dt="2021-01-13T08:28:14.230" v="8979"/>
          <ac:spMkLst>
            <pc:docMk/>
            <pc:sldMk cId="1694219525" sldId="1563"/>
            <ac:spMk id="8" creationId="{C88755A6-4B18-47F0-8B8F-3E3601C4E85E}"/>
          </ac:spMkLst>
        </pc:spChg>
        <pc:spChg chg="add del mod">
          <ac:chgData name="Stacey Yi" userId="736affbd-34d5-4375-befe-882681e433d4" providerId="ADAL" clId="{C174D987-FF03-4492-A128-1FDDF419AD2D}" dt="2021-01-13T08:31:38.603" v="9119" actId="478"/>
          <ac:spMkLst>
            <pc:docMk/>
            <pc:sldMk cId="1694219525" sldId="1563"/>
            <ac:spMk id="9" creationId="{EFF20230-6997-45E0-8570-2252AFC80EED}"/>
          </ac:spMkLst>
        </pc:spChg>
        <pc:graphicFrameChg chg="mod modGraphic">
          <ac:chgData name="Stacey Yi" userId="736affbd-34d5-4375-befe-882681e433d4" providerId="ADAL" clId="{C174D987-FF03-4492-A128-1FDDF419AD2D}" dt="2021-01-13T08:28:24.277" v="8982" actId="1076"/>
          <ac:graphicFrameMkLst>
            <pc:docMk/>
            <pc:sldMk cId="1694219525" sldId="1563"/>
            <ac:graphicFrameMk id="5" creationId="{B95F9419-7AF2-49F9-ADE8-9FECC79E5530}"/>
          </ac:graphicFrameMkLst>
        </pc:graphicFrameChg>
        <pc:graphicFrameChg chg="add mod modGraphic">
          <ac:chgData name="Stacey Yi" userId="736affbd-34d5-4375-befe-882681e433d4" providerId="ADAL" clId="{C174D987-FF03-4492-A128-1FDDF419AD2D}" dt="2021-01-13T08:31:24.704" v="9116" actId="14100"/>
          <ac:graphicFrameMkLst>
            <pc:docMk/>
            <pc:sldMk cId="1694219525" sldId="1563"/>
            <ac:graphicFrameMk id="7" creationId="{143FC385-7A2A-4399-BC02-F3A1A7EC62AA}"/>
          </ac:graphicFrameMkLst>
        </pc:graphicFrameChg>
      </pc:sldChg>
      <pc:sldChg chg="addSp delSp modSp mod">
        <pc:chgData name="Stacey Yi" userId="736affbd-34d5-4375-befe-882681e433d4" providerId="ADAL" clId="{C174D987-FF03-4492-A128-1FDDF419AD2D}" dt="2021-01-13T08:36:27.756" v="9371" actId="478"/>
        <pc:sldMkLst>
          <pc:docMk/>
          <pc:sldMk cId="4083851932" sldId="1564"/>
        </pc:sldMkLst>
        <pc:spChg chg="del mod">
          <ac:chgData name="Stacey Yi" userId="736affbd-34d5-4375-befe-882681e433d4" providerId="ADAL" clId="{C174D987-FF03-4492-A128-1FDDF419AD2D}" dt="2021-01-13T08:36:21.177" v="9368" actId="478"/>
          <ac:spMkLst>
            <pc:docMk/>
            <pc:sldMk cId="4083851932" sldId="1564"/>
            <ac:spMk id="3" creationId="{B2428971-AF0B-449B-8DB9-9AED6BD99630}"/>
          </ac:spMkLst>
        </pc:spChg>
        <pc:spChg chg="del mod">
          <ac:chgData name="Stacey Yi" userId="736affbd-34d5-4375-befe-882681e433d4" providerId="ADAL" clId="{C174D987-FF03-4492-A128-1FDDF419AD2D}" dt="2021-01-13T08:36:27.756" v="9371" actId="478"/>
          <ac:spMkLst>
            <pc:docMk/>
            <pc:sldMk cId="4083851932" sldId="1564"/>
            <ac:spMk id="5" creationId="{05F0F3F4-86D3-4DC8-9879-6790977EB9AB}"/>
          </ac:spMkLst>
        </pc:spChg>
        <pc:spChg chg="add del mod">
          <ac:chgData name="Stacey Yi" userId="736affbd-34d5-4375-befe-882681e433d4" providerId="ADAL" clId="{C174D987-FF03-4492-A128-1FDDF419AD2D}" dt="2021-01-13T08:36:25.407" v="9370" actId="478"/>
          <ac:spMkLst>
            <pc:docMk/>
            <pc:sldMk cId="4083851932" sldId="1564"/>
            <ac:spMk id="8" creationId="{1AAFCAC4-CFD3-4F76-A7B6-1B2EFCA1482C}"/>
          </ac:spMkLst>
        </pc:spChg>
        <pc:graphicFrameChg chg="mod modGraphic">
          <ac:chgData name="Stacey Yi" userId="736affbd-34d5-4375-befe-882681e433d4" providerId="ADAL" clId="{C174D987-FF03-4492-A128-1FDDF419AD2D}" dt="2021-01-13T08:33:34.995" v="9158" actId="1036"/>
          <ac:graphicFrameMkLst>
            <pc:docMk/>
            <pc:sldMk cId="4083851932" sldId="1564"/>
            <ac:graphicFrameMk id="4" creationId="{7C7B30CC-7ED7-418D-B5B0-50740C992893}"/>
          </ac:graphicFrameMkLst>
        </pc:graphicFrameChg>
        <pc:graphicFrameChg chg="add mod modGraphic">
          <ac:chgData name="Stacey Yi" userId="736affbd-34d5-4375-befe-882681e433d4" providerId="ADAL" clId="{C174D987-FF03-4492-A128-1FDDF419AD2D}" dt="2021-01-13T08:36:15.952" v="9367" actId="1035"/>
          <ac:graphicFrameMkLst>
            <pc:docMk/>
            <pc:sldMk cId="4083851932" sldId="1564"/>
            <ac:graphicFrameMk id="6" creationId="{8525918E-23CD-4D51-9877-9B1F8B979351}"/>
          </ac:graphicFrameMkLst>
        </pc:graphicFrameChg>
      </pc:sldChg>
      <pc:sldChg chg="new del">
        <pc:chgData name="Stacey Yi" userId="736affbd-34d5-4375-befe-882681e433d4" providerId="ADAL" clId="{C174D987-FF03-4492-A128-1FDDF419AD2D}" dt="2021-01-11T20:01:27.937" v="1" actId="680"/>
        <pc:sldMkLst>
          <pc:docMk/>
          <pc:sldMk cId="1097342590" sldId="4043"/>
        </pc:sldMkLst>
      </pc:sldChg>
    </pc:docChg>
  </pc:docChgLst>
  <pc:docChgLst>
    <pc:chgData name="Justine Zayhowski" userId="2377d393-ab0f-4e66-8672-ed1beebcd407" providerId="ADAL" clId="{A7AA9292-A805-421F-B7FE-06835B8484B6}"/>
    <pc:docChg chg="undo custSel addSld delSld modSld sldOrd delMainMaster">
      <pc:chgData name="Justine Zayhowski" userId="2377d393-ab0f-4e66-8672-ed1beebcd407" providerId="ADAL" clId="{A7AA9292-A805-421F-B7FE-06835B8484B6}" dt="2021-01-28T14:23:12.871" v="25631" actId="2696"/>
      <pc:docMkLst>
        <pc:docMk/>
      </pc:docMkLst>
      <pc:sldChg chg="add del">
        <pc:chgData name="Justine Zayhowski" userId="2377d393-ab0f-4e66-8672-ed1beebcd407" providerId="ADAL" clId="{A7AA9292-A805-421F-B7FE-06835B8484B6}" dt="2021-01-28T14:23:12.871" v="25631" actId="2696"/>
        <pc:sldMkLst>
          <pc:docMk/>
          <pc:sldMk cId="4234679703" sldId="257"/>
        </pc:sldMkLst>
      </pc:sldChg>
      <pc:sldChg chg="add del">
        <pc:chgData name="Justine Zayhowski" userId="2377d393-ab0f-4e66-8672-ed1beebcd407" providerId="ADAL" clId="{A7AA9292-A805-421F-B7FE-06835B8484B6}" dt="2021-01-28T14:23:12.871" v="25631" actId="2696"/>
        <pc:sldMkLst>
          <pc:docMk/>
          <pc:sldMk cId="3231755332" sldId="262"/>
        </pc:sldMkLst>
      </pc:sldChg>
      <pc:sldChg chg="add del">
        <pc:chgData name="Justine Zayhowski" userId="2377d393-ab0f-4e66-8672-ed1beebcd407" providerId="ADAL" clId="{A7AA9292-A805-421F-B7FE-06835B8484B6}" dt="2021-01-28T14:23:12.871" v="25631" actId="2696"/>
        <pc:sldMkLst>
          <pc:docMk/>
          <pc:sldMk cId="251744534" sldId="265"/>
        </pc:sldMkLst>
      </pc:sldChg>
      <pc:sldChg chg="add del">
        <pc:chgData name="Justine Zayhowski" userId="2377d393-ab0f-4e66-8672-ed1beebcd407" providerId="ADAL" clId="{A7AA9292-A805-421F-B7FE-06835B8484B6}" dt="2021-01-28T14:23:12.871" v="25631" actId="2696"/>
        <pc:sldMkLst>
          <pc:docMk/>
          <pc:sldMk cId="3164169939" sldId="266"/>
        </pc:sldMkLst>
      </pc:sldChg>
      <pc:sldChg chg="add del">
        <pc:chgData name="Justine Zayhowski" userId="2377d393-ab0f-4e66-8672-ed1beebcd407" providerId="ADAL" clId="{A7AA9292-A805-421F-B7FE-06835B8484B6}" dt="2021-01-28T14:23:12.871" v="25631" actId="2696"/>
        <pc:sldMkLst>
          <pc:docMk/>
          <pc:sldMk cId="2739722314" sldId="267"/>
        </pc:sldMkLst>
      </pc:sldChg>
      <pc:sldChg chg="add del">
        <pc:chgData name="Justine Zayhowski" userId="2377d393-ab0f-4e66-8672-ed1beebcd407" providerId="ADAL" clId="{A7AA9292-A805-421F-B7FE-06835B8484B6}" dt="2021-01-28T14:23:12.871" v="25631" actId="2696"/>
        <pc:sldMkLst>
          <pc:docMk/>
          <pc:sldMk cId="4287636071" sldId="268"/>
        </pc:sldMkLst>
      </pc:sldChg>
      <pc:sldChg chg="add del">
        <pc:chgData name="Justine Zayhowski" userId="2377d393-ab0f-4e66-8672-ed1beebcd407" providerId="ADAL" clId="{A7AA9292-A805-421F-B7FE-06835B8484B6}" dt="2021-01-28T14:23:12.871" v="25631" actId="2696"/>
        <pc:sldMkLst>
          <pc:docMk/>
          <pc:sldMk cId="3101585750" sldId="269"/>
        </pc:sldMkLst>
      </pc:sldChg>
      <pc:sldChg chg="addSp delSp modSp mod">
        <pc:chgData name="Justine Zayhowski" userId="2377d393-ab0f-4e66-8672-ed1beebcd407" providerId="ADAL" clId="{A7AA9292-A805-421F-B7FE-06835B8484B6}" dt="2021-01-13T14:08:39.725" v="23100" actId="21"/>
        <pc:sldMkLst>
          <pc:docMk/>
          <pc:sldMk cId="1210250860" sldId="483"/>
        </pc:sldMkLst>
        <pc:spChg chg="mod">
          <ac:chgData name="Justine Zayhowski" userId="2377d393-ab0f-4e66-8672-ed1beebcd407" providerId="ADAL" clId="{A7AA9292-A805-421F-B7FE-06835B8484B6}" dt="2020-12-28T16:04:12.102" v="15976" actId="114"/>
          <ac:spMkLst>
            <pc:docMk/>
            <pc:sldMk cId="1210250860" sldId="483"/>
            <ac:spMk id="3" creationId="{00000000-0000-0000-0000-000000000000}"/>
          </ac:spMkLst>
        </pc:spChg>
        <pc:spChg chg="add del mod">
          <ac:chgData name="Justine Zayhowski" userId="2377d393-ab0f-4e66-8672-ed1beebcd407" providerId="ADAL" clId="{A7AA9292-A805-421F-B7FE-06835B8484B6}" dt="2021-01-13T14:08:39.725" v="23100" actId="21"/>
          <ac:spMkLst>
            <pc:docMk/>
            <pc:sldMk cId="1210250860" sldId="483"/>
            <ac:spMk id="4" creationId="{3E22693A-1085-4791-A969-D058F692DFC3}"/>
          </ac:spMkLst>
        </pc:spChg>
        <pc:spChg chg="add del mod">
          <ac:chgData name="Justine Zayhowski" userId="2377d393-ab0f-4e66-8672-ed1beebcd407" providerId="ADAL" clId="{A7AA9292-A805-421F-B7FE-06835B8484B6}" dt="2021-01-06T15:34:42.721" v="20391" actId="478"/>
          <ac:spMkLst>
            <pc:docMk/>
            <pc:sldMk cId="1210250860" sldId="483"/>
            <ac:spMk id="4" creationId="{531AC11A-5CB0-4D6F-A8B5-FD9AEFC916C6}"/>
          </ac:spMkLst>
        </pc:spChg>
        <pc:spChg chg="add del mod">
          <ac:chgData name="Justine Zayhowski" userId="2377d393-ab0f-4e66-8672-ed1beebcd407" providerId="ADAL" clId="{A7AA9292-A805-421F-B7FE-06835B8484B6}" dt="2020-12-28T14:31:48.222" v="13329" actId="478"/>
          <ac:spMkLst>
            <pc:docMk/>
            <pc:sldMk cId="1210250860" sldId="483"/>
            <ac:spMk id="4" creationId="{79515476-7525-4A52-BD59-33C4183F5FD8}"/>
          </ac:spMkLst>
        </pc:spChg>
        <pc:spChg chg="add del mod">
          <ac:chgData name="Justine Zayhowski" userId="2377d393-ab0f-4e66-8672-ed1beebcd407" providerId="ADAL" clId="{A7AA9292-A805-421F-B7FE-06835B8484B6}" dt="2020-12-28T14:32:04.446" v="13346" actId="478"/>
          <ac:spMkLst>
            <pc:docMk/>
            <pc:sldMk cId="1210250860" sldId="483"/>
            <ac:spMk id="5" creationId="{4E60735F-707E-414A-9CFF-EA3DAB5A64F5}"/>
          </ac:spMkLst>
        </pc:spChg>
        <pc:spChg chg="add del mod">
          <ac:chgData name="Justine Zayhowski" userId="2377d393-ab0f-4e66-8672-ed1beebcd407" providerId="ADAL" clId="{A7AA9292-A805-421F-B7FE-06835B8484B6}" dt="2021-01-06T16:45:18.682" v="20736" actId="478"/>
          <ac:spMkLst>
            <pc:docMk/>
            <pc:sldMk cId="1210250860" sldId="483"/>
            <ac:spMk id="5" creationId="{E4B7E957-D85C-460D-BDFA-2F0912934343}"/>
          </ac:spMkLst>
        </pc:spChg>
      </pc:sldChg>
      <pc:sldChg chg="addSp delSp modSp add del mod">
        <pc:chgData name="Justine Zayhowski" userId="2377d393-ab0f-4e66-8672-ed1beebcd407" providerId="ADAL" clId="{A7AA9292-A805-421F-B7FE-06835B8484B6}" dt="2020-12-21T17:45:07.013" v="12119" actId="47"/>
        <pc:sldMkLst>
          <pc:docMk/>
          <pc:sldMk cId="1965260170" sldId="486"/>
        </pc:sldMkLst>
        <pc:spChg chg="mod">
          <ac:chgData name="Justine Zayhowski" userId="2377d393-ab0f-4e66-8672-ed1beebcd407" providerId="ADAL" clId="{A7AA9292-A805-421F-B7FE-06835B8484B6}" dt="2020-12-17T22:22:21.099" v="3399" actId="20577"/>
          <ac:spMkLst>
            <pc:docMk/>
            <pc:sldMk cId="1965260170" sldId="486"/>
            <ac:spMk id="4" creationId="{C769B74C-6A99-CD4D-9156-DD28C0CDBDCC}"/>
          </ac:spMkLst>
        </pc:spChg>
        <pc:spChg chg="add del mod">
          <ac:chgData name="Justine Zayhowski" userId="2377d393-ab0f-4e66-8672-ed1beebcd407" providerId="ADAL" clId="{A7AA9292-A805-421F-B7FE-06835B8484B6}" dt="2020-12-17T22:18:50.147" v="3127" actId="20577"/>
          <ac:spMkLst>
            <pc:docMk/>
            <pc:sldMk cId="1965260170" sldId="486"/>
            <ac:spMk id="5" creationId="{6446784A-E408-4437-901D-CEB2EC6CFEE1}"/>
          </ac:spMkLst>
        </pc:spChg>
      </pc:sldChg>
      <pc:sldChg chg="addSp modSp add del mod">
        <pc:chgData name="Justine Zayhowski" userId="2377d393-ab0f-4e66-8672-ed1beebcd407" providerId="ADAL" clId="{A7AA9292-A805-421F-B7FE-06835B8484B6}" dt="2020-12-21T17:45:08.824" v="12120" actId="47"/>
        <pc:sldMkLst>
          <pc:docMk/>
          <pc:sldMk cId="1589014978" sldId="487"/>
        </pc:sldMkLst>
        <pc:spChg chg="mod">
          <ac:chgData name="Justine Zayhowski" userId="2377d393-ab0f-4e66-8672-ed1beebcd407" providerId="ADAL" clId="{A7AA9292-A805-421F-B7FE-06835B8484B6}" dt="2020-12-17T22:22:16.767" v="3397" actId="20577"/>
          <ac:spMkLst>
            <pc:docMk/>
            <pc:sldMk cId="1589014978" sldId="487"/>
            <ac:spMk id="4" creationId="{29801F2D-4A56-1B43-8350-67A4A77CCF59}"/>
          </ac:spMkLst>
        </pc:spChg>
        <pc:spChg chg="add mod">
          <ac:chgData name="Justine Zayhowski" userId="2377d393-ab0f-4e66-8672-ed1beebcd407" providerId="ADAL" clId="{A7AA9292-A805-421F-B7FE-06835B8484B6}" dt="2020-12-17T21:59:28.817" v="2389"/>
          <ac:spMkLst>
            <pc:docMk/>
            <pc:sldMk cId="1589014978" sldId="487"/>
            <ac:spMk id="5" creationId="{438467A7-7043-4B24-8554-531507BB005F}"/>
          </ac:spMkLst>
        </pc:spChg>
      </pc:sldChg>
      <pc:sldChg chg="add del">
        <pc:chgData name="Justine Zayhowski" userId="2377d393-ab0f-4e66-8672-ed1beebcd407" providerId="ADAL" clId="{A7AA9292-A805-421F-B7FE-06835B8484B6}" dt="2021-01-14T13:18:21.991" v="25626"/>
        <pc:sldMkLst>
          <pc:docMk/>
          <pc:sldMk cId="2568901442" sldId="1099"/>
        </pc:sldMkLst>
      </pc:sldChg>
      <pc:sldChg chg="add del">
        <pc:chgData name="Justine Zayhowski" userId="2377d393-ab0f-4e66-8672-ed1beebcd407" providerId="ADAL" clId="{A7AA9292-A805-421F-B7FE-06835B8484B6}" dt="2021-01-14T13:18:21.991" v="25626"/>
        <pc:sldMkLst>
          <pc:docMk/>
          <pc:sldMk cId="4109401992" sldId="1169"/>
        </pc:sldMkLst>
      </pc:sldChg>
      <pc:sldChg chg="add del">
        <pc:chgData name="Justine Zayhowski" userId="2377d393-ab0f-4e66-8672-ed1beebcd407" providerId="ADAL" clId="{A7AA9292-A805-421F-B7FE-06835B8484B6}" dt="2021-01-14T13:18:21.991" v="25626"/>
        <pc:sldMkLst>
          <pc:docMk/>
          <pc:sldMk cId="161162683" sldId="1170"/>
        </pc:sldMkLst>
      </pc:sldChg>
      <pc:sldChg chg="add del">
        <pc:chgData name="Justine Zayhowski" userId="2377d393-ab0f-4e66-8672-ed1beebcd407" providerId="ADAL" clId="{A7AA9292-A805-421F-B7FE-06835B8484B6}" dt="2021-01-14T13:18:21.991" v="25626"/>
        <pc:sldMkLst>
          <pc:docMk/>
          <pc:sldMk cId="1311454412" sldId="1171"/>
        </pc:sldMkLst>
      </pc:sldChg>
      <pc:sldChg chg="add del">
        <pc:chgData name="Justine Zayhowski" userId="2377d393-ab0f-4e66-8672-ed1beebcd407" providerId="ADAL" clId="{A7AA9292-A805-421F-B7FE-06835B8484B6}" dt="2021-01-14T13:18:21.991" v="25626"/>
        <pc:sldMkLst>
          <pc:docMk/>
          <pc:sldMk cId="2514452420" sldId="1172"/>
        </pc:sldMkLst>
      </pc:sldChg>
      <pc:sldChg chg="add del">
        <pc:chgData name="Justine Zayhowski" userId="2377d393-ab0f-4e66-8672-ed1beebcd407" providerId="ADAL" clId="{A7AA9292-A805-421F-B7FE-06835B8484B6}" dt="2021-01-14T13:18:21.991" v="25626"/>
        <pc:sldMkLst>
          <pc:docMk/>
          <pc:sldMk cId="445581228" sldId="1173"/>
        </pc:sldMkLst>
      </pc:sldChg>
      <pc:sldChg chg="add del">
        <pc:chgData name="Justine Zayhowski" userId="2377d393-ab0f-4e66-8672-ed1beebcd407" providerId="ADAL" clId="{A7AA9292-A805-421F-B7FE-06835B8484B6}" dt="2021-01-14T13:18:21.991" v="25626"/>
        <pc:sldMkLst>
          <pc:docMk/>
          <pc:sldMk cId="1480379365" sldId="1174"/>
        </pc:sldMkLst>
      </pc:sldChg>
      <pc:sldChg chg="add del">
        <pc:chgData name="Justine Zayhowski" userId="2377d393-ab0f-4e66-8672-ed1beebcd407" providerId="ADAL" clId="{A7AA9292-A805-421F-B7FE-06835B8484B6}" dt="2021-01-14T13:18:21.991" v="25626"/>
        <pc:sldMkLst>
          <pc:docMk/>
          <pc:sldMk cId="3642083596" sldId="1175"/>
        </pc:sldMkLst>
      </pc:sldChg>
      <pc:sldChg chg="del delCm">
        <pc:chgData name="Justine Zayhowski" userId="2377d393-ab0f-4e66-8672-ed1beebcd407" providerId="ADAL" clId="{A7AA9292-A805-421F-B7FE-06835B8484B6}" dt="2020-12-29T13:27:45.539" v="16648" actId="1592"/>
        <pc:sldMkLst>
          <pc:docMk/>
          <pc:sldMk cId="3830109214" sldId="1265"/>
        </pc:sldMkLst>
      </pc:sldChg>
      <pc:sldChg chg="addSp delSp modSp mod">
        <pc:chgData name="Justine Zayhowski" userId="2377d393-ab0f-4e66-8672-ed1beebcd407" providerId="ADAL" clId="{A7AA9292-A805-421F-B7FE-06835B8484B6}" dt="2020-12-28T14:34:47.712" v="13562" actId="20577"/>
        <pc:sldMkLst>
          <pc:docMk/>
          <pc:sldMk cId="3123438988" sldId="1429"/>
        </pc:sldMkLst>
        <pc:spChg chg="mod">
          <ac:chgData name="Justine Zayhowski" userId="2377d393-ab0f-4e66-8672-ed1beebcd407" providerId="ADAL" clId="{A7AA9292-A805-421F-B7FE-06835B8484B6}" dt="2020-12-28T14:34:47.712" v="13562" actId="20577"/>
          <ac:spMkLst>
            <pc:docMk/>
            <pc:sldMk cId="3123438988" sldId="1429"/>
            <ac:spMk id="3" creationId="{8E396B14-F9D7-4ACC-AED3-6E88E76396F5}"/>
          </ac:spMkLst>
        </pc:spChg>
        <pc:spChg chg="add del mod">
          <ac:chgData name="Justine Zayhowski" userId="2377d393-ab0f-4e66-8672-ed1beebcd407" providerId="ADAL" clId="{A7AA9292-A805-421F-B7FE-06835B8484B6}" dt="2020-12-28T14:33:47.070" v="13347" actId="478"/>
          <ac:spMkLst>
            <pc:docMk/>
            <pc:sldMk cId="3123438988" sldId="1429"/>
            <ac:spMk id="4" creationId="{9100FBF1-1CFE-4A7B-A9CB-1E24E6A2C7D6}"/>
          </ac:spMkLst>
        </pc:spChg>
        <pc:spChg chg="mod">
          <ac:chgData name="Justine Zayhowski" userId="2377d393-ab0f-4e66-8672-ed1beebcd407" providerId="ADAL" clId="{A7AA9292-A805-421F-B7FE-06835B8484B6}" dt="2020-11-30T16:34:55.327" v="165" actId="1035"/>
          <ac:spMkLst>
            <pc:docMk/>
            <pc:sldMk cId="3123438988" sldId="1429"/>
            <ac:spMk id="5" creationId="{D3915D3D-656E-48AA-8D63-358A7E5AA453}"/>
          </ac:spMkLst>
        </pc:spChg>
      </pc:sldChg>
      <pc:sldChg chg="modSp mod">
        <pc:chgData name="Justine Zayhowski" userId="2377d393-ab0f-4e66-8672-ed1beebcd407" providerId="ADAL" clId="{A7AA9292-A805-421F-B7FE-06835B8484B6}" dt="2020-12-28T16:00:17.944" v="15850" actId="20577"/>
        <pc:sldMkLst>
          <pc:docMk/>
          <pc:sldMk cId="994760883" sldId="1439"/>
        </pc:sldMkLst>
        <pc:spChg chg="mod">
          <ac:chgData name="Justine Zayhowski" userId="2377d393-ab0f-4e66-8672-ed1beebcd407" providerId="ADAL" clId="{A7AA9292-A805-421F-B7FE-06835B8484B6}" dt="2020-11-30T16:38:47.278" v="422" actId="20577"/>
          <ac:spMkLst>
            <pc:docMk/>
            <pc:sldMk cId="994760883" sldId="1439"/>
            <ac:spMk id="2" creationId="{3C0D77C2-F836-4F58-809A-223B58877900}"/>
          </ac:spMkLst>
        </pc:spChg>
        <pc:spChg chg="mod">
          <ac:chgData name="Justine Zayhowski" userId="2377d393-ab0f-4e66-8672-ed1beebcd407" providerId="ADAL" clId="{A7AA9292-A805-421F-B7FE-06835B8484B6}" dt="2020-12-28T16:00:17.944" v="15850" actId="20577"/>
          <ac:spMkLst>
            <pc:docMk/>
            <pc:sldMk cId="994760883" sldId="1439"/>
            <ac:spMk id="3" creationId="{23982B12-54F3-4BA6-BB25-2E0F88B305AC}"/>
          </ac:spMkLst>
        </pc:spChg>
      </pc:sldChg>
      <pc:sldChg chg="del">
        <pc:chgData name="Justine Zayhowski" userId="2377d393-ab0f-4e66-8672-ed1beebcd407" providerId="ADAL" clId="{A7AA9292-A805-421F-B7FE-06835B8484B6}" dt="2020-11-30T16:38:01.585" v="368" actId="47"/>
        <pc:sldMkLst>
          <pc:docMk/>
          <pc:sldMk cId="510595385" sldId="1451"/>
        </pc:sldMkLst>
      </pc:sldChg>
      <pc:sldChg chg="del">
        <pc:chgData name="Justine Zayhowski" userId="2377d393-ab0f-4e66-8672-ed1beebcd407" providerId="ADAL" clId="{A7AA9292-A805-421F-B7FE-06835B8484B6}" dt="2020-11-30T16:38:02.058" v="369" actId="47"/>
        <pc:sldMkLst>
          <pc:docMk/>
          <pc:sldMk cId="3467530768" sldId="1452"/>
        </pc:sldMkLst>
      </pc:sldChg>
      <pc:sldChg chg="del">
        <pc:chgData name="Justine Zayhowski" userId="2377d393-ab0f-4e66-8672-ed1beebcd407" providerId="ADAL" clId="{A7AA9292-A805-421F-B7FE-06835B8484B6}" dt="2020-11-30T16:38:03.696" v="370" actId="47"/>
        <pc:sldMkLst>
          <pc:docMk/>
          <pc:sldMk cId="2289856384" sldId="1458"/>
        </pc:sldMkLst>
      </pc:sldChg>
      <pc:sldChg chg="del">
        <pc:chgData name="Justine Zayhowski" userId="2377d393-ab0f-4e66-8672-ed1beebcd407" providerId="ADAL" clId="{A7AA9292-A805-421F-B7FE-06835B8484B6}" dt="2020-11-30T16:38:04.527" v="371" actId="47"/>
        <pc:sldMkLst>
          <pc:docMk/>
          <pc:sldMk cId="1231809821" sldId="1469"/>
        </pc:sldMkLst>
      </pc:sldChg>
      <pc:sldChg chg="del">
        <pc:chgData name="Justine Zayhowski" userId="2377d393-ab0f-4e66-8672-ed1beebcd407" providerId="ADAL" clId="{A7AA9292-A805-421F-B7FE-06835B8484B6}" dt="2020-11-30T16:38:05.345" v="373" actId="47"/>
        <pc:sldMkLst>
          <pc:docMk/>
          <pc:sldMk cId="346840921" sldId="1470"/>
        </pc:sldMkLst>
      </pc:sldChg>
      <pc:sldChg chg="del">
        <pc:chgData name="Justine Zayhowski" userId="2377d393-ab0f-4e66-8672-ed1beebcd407" providerId="ADAL" clId="{A7AA9292-A805-421F-B7FE-06835B8484B6}" dt="2020-11-30T16:38:04.958" v="372" actId="47"/>
        <pc:sldMkLst>
          <pc:docMk/>
          <pc:sldMk cId="2741044330" sldId="1471"/>
        </pc:sldMkLst>
      </pc:sldChg>
      <pc:sldChg chg="modSp add del mod">
        <pc:chgData name="Justine Zayhowski" userId="2377d393-ab0f-4e66-8672-ed1beebcd407" providerId="ADAL" clId="{A7AA9292-A805-421F-B7FE-06835B8484B6}" dt="2021-01-07T13:37:45.341" v="20919"/>
        <pc:sldMkLst>
          <pc:docMk/>
          <pc:sldMk cId="3130701180" sldId="1477"/>
        </pc:sldMkLst>
        <pc:spChg chg="mod">
          <ac:chgData name="Justine Zayhowski" userId="2377d393-ab0f-4e66-8672-ed1beebcd407" providerId="ADAL" clId="{A7AA9292-A805-421F-B7FE-06835B8484B6}" dt="2020-11-30T16:36:23.662" v="324" actId="13926"/>
          <ac:spMkLst>
            <pc:docMk/>
            <pc:sldMk cId="3130701180" sldId="1477"/>
            <ac:spMk id="3" creationId="{C1BCA869-A43A-401D-ADC1-170551BC7D38}"/>
          </ac:spMkLst>
        </pc:spChg>
      </pc:sldChg>
      <pc:sldChg chg="add del">
        <pc:chgData name="Justine Zayhowski" userId="2377d393-ab0f-4e66-8672-ed1beebcd407" providerId="ADAL" clId="{A7AA9292-A805-421F-B7FE-06835B8484B6}" dt="2021-01-19T17:54:14.014" v="25629" actId="47"/>
        <pc:sldMkLst>
          <pc:docMk/>
          <pc:sldMk cId="2899291166" sldId="1478"/>
        </pc:sldMkLst>
      </pc:sldChg>
      <pc:sldChg chg="del">
        <pc:chgData name="Justine Zayhowski" userId="2377d393-ab0f-4e66-8672-ed1beebcd407" providerId="ADAL" clId="{A7AA9292-A805-421F-B7FE-06835B8484B6}" dt="2020-11-30T16:38:31.922" v="396" actId="47"/>
        <pc:sldMkLst>
          <pc:docMk/>
          <pc:sldMk cId="883325208" sldId="1480"/>
        </pc:sldMkLst>
      </pc:sldChg>
      <pc:sldChg chg="del">
        <pc:chgData name="Justine Zayhowski" userId="2377d393-ab0f-4e66-8672-ed1beebcd407" providerId="ADAL" clId="{A7AA9292-A805-421F-B7FE-06835B8484B6}" dt="2020-11-30T16:38:34.230" v="403" actId="47"/>
        <pc:sldMkLst>
          <pc:docMk/>
          <pc:sldMk cId="1541576896" sldId="1481"/>
        </pc:sldMkLst>
      </pc:sldChg>
      <pc:sldChg chg="del">
        <pc:chgData name="Justine Zayhowski" userId="2377d393-ab0f-4e66-8672-ed1beebcd407" providerId="ADAL" clId="{A7AA9292-A805-421F-B7FE-06835B8484B6}" dt="2020-11-30T16:37:57.151" v="365" actId="47"/>
        <pc:sldMkLst>
          <pc:docMk/>
          <pc:sldMk cId="1280005851" sldId="1490"/>
        </pc:sldMkLst>
      </pc:sldChg>
      <pc:sldChg chg="addSp delSp modSp mod addCm delCm modNotesTx">
        <pc:chgData name="Justine Zayhowski" userId="2377d393-ab0f-4e66-8672-ed1beebcd407" providerId="ADAL" clId="{A7AA9292-A805-421F-B7FE-06835B8484B6}" dt="2021-01-14T13:14:52.546" v="25623" actId="478"/>
        <pc:sldMkLst>
          <pc:docMk/>
          <pc:sldMk cId="690201876" sldId="1492"/>
        </pc:sldMkLst>
        <pc:spChg chg="mod">
          <ac:chgData name="Justine Zayhowski" userId="2377d393-ab0f-4e66-8672-ed1beebcd407" providerId="ADAL" clId="{A7AA9292-A805-421F-B7FE-06835B8484B6}" dt="2020-12-17T21:39:35.652" v="968" actId="14100"/>
          <ac:spMkLst>
            <pc:docMk/>
            <pc:sldMk cId="690201876" sldId="1492"/>
            <ac:spMk id="2" creationId="{27710C97-9381-48F0-98B3-11EDA7DE1A05}"/>
          </ac:spMkLst>
        </pc:spChg>
        <pc:spChg chg="add del mod">
          <ac:chgData name="Justine Zayhowski" userId="2377d393-ab0f-4e66-8672-ed1beebcd407" providerId="ADAL" clId="{A7AA9292-A805-421F-B7FE-06835B8484B6}" dt="2020-11-30T16:38:13.011" v="376" actId="767"/>
          <ac:spMkLst>
            <pc:docMk/>
            <pc:sldMk cId="690201876" sldId="1492"/>
            <ac:spMk id="3" creationId="{56077D8E-CE26-44AF-B143-3FA2EA28B080}"/>
          </ac:spMkLst>
        </pc:spChg>
        <pc:spChg chg="add del mod">
          <ac:chgData name="Justine Zayhowski" userId="2377d393-ab0f-4e66-8672-ed1beebcd407" providerId="ADAL" clId="{A7AA9292-A805-421F-B7FE-06835B8484B6}" dt="2021-01-14T13:14:52.546" v="25623" actId="478"/>
          <ac:spMkLst>
            <pc:docMk/>
            <pc:sldMk cId="690201876" sldId="1492"/>
            <ac:spMk id="3" creationId="{9D770C4F-5540-435E-B7B4-168B581133C6}"/>
          </ac:spMkLst>
        </pc:spChg>
        <pc:spChg chg="add del mod">
          <ac:chgData name="Justine Zayhowski" userId="2377d393-ab0f-4e66-8672-ed1beebcd407" providerId="ADAL" clId="{A7AA9292-A805-421F-B7FE-06835B8484B6}" dt="2020-12-29T13:27:22.586" v="16646" actId="478"/>
          <ac:spMkLst>
            <pc:docMk/>
            <pc:sldMk cId="690201876" sldId="1492"/>
            <ac:spMk id="3" creationId="{C3693CE9-71D4-45EC-8E87-FA08E7D2D84E}"/>
          </ac:spMkLst>
        </pc:spChg>
        <pc:spChg chg="add del mod">
          <ac:chgData name="Justine Zayhowski" userId="2377d393-ab0f-4e66-8672-ed1beebcd407" providerId="ADAL" clId="{A7AA9292-A805-421F-B7FE-06835B8484B6}" dt="2020-11-30T16:48:09.984" v="545" actId="478"/>
          <ac:spMkLst>
            <pc:docMk/>
            <pc:sldMk cId="690201876" sldId="1492"/>
            <ac:spMk id="5" creationId="{4D023379-1100-46C0-8083-5BC369D07402}"/>
          </ac:spMkLst>
        </pc:spChg>
        <pc:spChg chg="add del mod">
          <ac:chgData name="Justine Zayhowski" userId="2377d393-ab0f-4e66-8672-ed1beebcd407" providerId="ADAL" clId="{A7AA9292-A805-421F-B7FE-06835B8484B6}" dt="2021-01-13T14:09:29.406" v="23161" actId="478"/>
          <ac:spMkLst>
            <pc:docMk/>
            <pc:sldMk cId="690201876" sldId="1492"/>
            <ac:spMk id="5" creationId="{C20368F2-422C-42C7-B74E-5D27631C5274}"/>
          </ac:spMkLst>
        </pc:spChg>
        <pc:spChg chg="add del mod">
          <ac:chgData name="Justine Zayhowski" userId="2377d393-ab0f-4e66-8672-ed1beebcd407" providerId="ADAL" clId="{A7AA9292-A805-421F-B7FE-06835B8484B6}" dt="2020-12-24T16:55:11.605" v="12629" actId="478"/>
          <ac:spMkLst>
            <pc:docMk/>
            <pc:sldMk cId="690201876" sldId="1492"/>
            <ac:spMk id="6" creationId="{2B4F5033-36A8-4356-91A4-1453848DC458}"/>
          </ac:spMkLst>
        </pc:spChg>
        <pc:spChg chg="del mod">
          <ac:chgData name="Justine Zayhowski" userId="2377d393-ab0f-4e66-8672-ed1beebcd407" providerId="ADAL" clId="{A7AA9292-A805-421F-B7FE-06835B8484B6}" dt="2020-12-17T21:40:27.914" v="1043" actId="478"/>
          <ac:spMkLst>
            <pc:docMk/>
            <pc:sldMk cId="690201876" sldId="1492"/>
            <ac:spMk id="7" creationId="{748B19C1-E7D4-48D0-A896-4C8873DC0253}"/>
          </ac:spMkLst>
        </pc:spChg>
        <pc:graphicFrameChg chg="mod modGraphic">
          <ac:chgData name="Justine Zayhowski" userId="2377d393-ab0f-4e66-8672-ed1beebcd407" providerId="ADAL" clId="{A7AA9292-A805-421F-B7FE-06835B8484B6}" dt="2021-01-13T14:11:44.270" v="23174" actId="20577"/>
          <ac:graphicFrameMkLst>
            <pc:docMk/>
            <pc:sldMk cId="690201876" sldId="1492"/>
            <ac:graphicFrameMk id="4" creationId="{2BF16781-B2A9-4BFA-A6A2-944B11AC9EC1}"/>
          </ac:graphicFrameMkLst>
        </pc:graphicFrameChg>
      </pc:sldChg>
      <pc:sldChg chg="del">
        <pc:chgData name="Justine Zayhowski" userId="2377d393-ab0f-4e66-8672-ed1beebcd407" providerId="ADAL" clId="{A7AA9292-A805-421F-B7FE-06835B8484B6}" dt="2020-11-30T16:38:28.672" v="393" actId="47"/>
        <pc:sldMkLst>
          <pc:docMk/>
          <pc:sldMk cId="4034940866" sldId="1494"/>
        </pc:sldMkLst>
      </pc:sldChg>
      <pc:sldChg chg="del">
        <pc:chgData name="Justine Zayhowski" userId="2377d393-ab0f-4e66-8672-ed1beebcd407" providerId="ADAL" clId="{A7AA9292-A805-421F-B7FE-06835B8484B6}" dt="2020-11-30T16:38:32.476" v="397" actId="47"/>
        <pc:sldMkLst>
          <pc:docMk/>
          <pc:sldMk cId="245000583" sldId="1495"/>
        </pc:sldMkLst>
      </pc:sldChg>
      <pc:sldChg chg="add del">
        <pc:chgData name="Justine Zayhowski" userId="2377d393-ab0f-4e66-8672-ed1beebcd407" providerId="ADAL" clId="{A7AA9292-A805-421F-B7FE-06835B8484B6}" dt="2020-11-30T16:35:29.588" v="199" actId="47"/>
        <pc:sldMkLst>
          <pc:docMk/>
          <pc:sldMk cId="184558784" sldId="1496"/>
        </pc:sldMkLst>
      </pc:sldChg>
      <pc:sldChg chg="del">
        <pc:chgData name="Justine Zayhowski" userId="2377d393-ab0f-4e66-8672-ed1beebcd407" providerId="ADAL" clId="{A7AA9292-A805-421F-B7FE-06835B8484B6}" dt="2020-11-30T16:37:59.403" v="367" actId="47"/>
        <pc:sldMkLst>
          <pc:docMk/>
          <pc:sldMk cId="2799852487" sldId="1497"/>
        </pc:sldMkLst>
      </pc:sldChg>
      <pc:sldChg chg="del">
        <pc:chgData name="Justine Zayhowski" userId="2377d393-ab0f-4e66-8672-ed1beebcd407" providerId="ADAL" clId="{A7AA9292-A805-421F-B7FE-06835B8484B6}" dt="2020-11-30T16:38:08.351" v="374" actId="47"/>
        <pc:sldMkLst>
          <pc:docMk/>
          <pc:sldMk cId="1243887270" sldId="1498"/>
        </pc:sldMkLst>
      </pc:sldChg>
      <pc:sldChg chg="del">
        <pc:chgData name="Justine Zayhowski" userId="2377d393-ab0f-4e66-8672-ed1beebcd407" providerId="ADAL" clId="{A7AA9292-A805-421F-B7FE-06835B8484B6}" dt="2020-11-30T16:38:30.591" v="395" actId="47"/>
        <pc:sldMkLst>
          <pc:docMk/>
          <pc:sldMk cId="831014981" sldId="1499"/>
        </pc:sldMkLst>
      </pc:sldChg>
      <pc:sldChg chg="del">
        <pc:chgData name="Justine Zayhowski" userId="2377d393-ab0f-4e66-8672-ed1beebcd407" providerId="ADAL" clId="{A7AA9292-A805-421F-B7FE-06835B8484B6}" dt="2020-11-30T16:38:35.578" v="408" actId="47"/>
        <pc:sldMkLst>
          <pc:docMk/>
          <pc:sldMk cId="666351884" sldId="1500"/>
        </pc:sldMkLst>
      </pc:sldChg>
      <pc:sldChg chg="del">
        <pc:chgData name="Justine Zayhowski" userId="2377d393-ab0f-4e66-8672-ed1beebcd407" providerId="ADAL" clId="{A7AA9292-A805-421F-B7FE-06835B8484B6}" dt="2020-11-30T16:38:38.875" v="417" actId="47"/>
        <pc:sldMkLst>
          <pc:docMk/>
          <pc:sldMk cId="2992463776" sldId="1501"/>
        </pc:sldMkLst>
      </pc:sldChg>
      <pc:sldChg chg="del">
        <pc:chgData name="Justine Zayhowski" userId="2377d393-ab0f-4e66-8672-ed1beebcd407" providerId="ADAL" clId="{A7AA9292-A805-421F-B7FE-06835B8484B6}" dt="2020-11-30T16:38:36.280" v="409" actId="47"/>
        <pc:sldMkLst>
          <pc:docMk/>
          <pc:sldMk cId="4174825195" sldId="1502"/>
        </pc:sldMkLst>
      </pc:sldChg>
      <pc:sldChg chg="del">
        <pc:chgData name="Justine Zayhowski" userId="2377d393-ab0f-4e66-8672-ed1beebcd407" providerId="ADAL" clId="{A7AA9292-A805-421F-B7FE-06835B8484B6}" dt="2020-11-30T16:38:35.225" v="407" actId="47"/>
        <pc:sldMkLst>
          <pc:docMk/>
          <pc:sldMk cId="1407305578" sldId="1503"/>
        </pc:sldMkLst>
      </pc:sldChg>
      <pc:sldChg chg="del">
        <pc:chgData name="Justine Zayhowski" userId="2377d393-ab0f-4e66-8672-ed1beebcd407" providerId="ADAL" clId="{A7AA9292-A805-421F-B7FE-06835B8484B6}" dt="2020-11-30T16:38:37.539" v="413" actId="47"/>
        <pc:sldMkLst>
          <pc:docMk/>
          <pc:sldMk cId="173962392" sldId="1505"/>
        </pc:sldMkLst>
      </pc:sldChg>
      <pc:sldChg chg="del">
        <pc:chgData name="Justine Zayhowski" userId="2377d393-ab0f-4e66-8672-ed1beebcd407" providerId="ADAL" clId="{A7AA9292-A805-421F-B7FE-06835B8484B6}" dt="2020-11-30T16:38:38.497" v="416" actId="47"/>
        <pc:sldMkLst>
          <pc:docMk/>
          <pc:sldMk cId="1058099442" sldId="1506"/>
        </pc:sldMkLst>
      </pc:sldChg>
      <pc:sldChg chg="del">
        <pc:chgData name="Justine Zayhowski" userId="2377d393-ab0f-4e66-8672-ed1beebcd407" providerId="ADAL" clId="{A7AA9292-A805-421F-B7FE-06835B8484B6}" dt="2020-11-30T16:38:37.271" v="412" actId="47"/>
        <pc:sldMkLst>
          <pc:docMk/>
          <pc:sldMk cId="2090324227" sldId="1507"/>
        </pc:sldMkLst>
      </pc:sldChg>
      <pc:sldChg chg="del">
        <pc:chgData name="Justine Zayhowski" userId="2377d393-ab0f-4e66-8672-ed1beebcd407" providerId="ADAL" clId="{A7AA9292-A805-421F-B7FE-06835B8484B6}" dt="2020-11-30T16:38:36.919" v="411" actId="47"/>
        <pc:sldMkLst>
          <pc:docMk/>
          <pc:sldMk cId="1902974447" sldId="1508"/>
        </pc:sldMkLst>
      </pc:sldChg>
      <pc:sldChg chg="del">
        <pc:chgData name="Justine Zayhowski" userId="2377d393-ab0f-4e66-8672-ed1beebcd407" providerId="ADAL" clId="{A7AA9292-A805-421F-B7FE-06835B8484B6}" dt="2020-11-30T16:38:33.003" v="398" actId="47"/>
        <pc:sldMkLst>
          <pc:docMk/>
          <pc:sldMk cId="1958059492" sldId="1509"/>
        </pc:sldMkLst>
      </pc:sldChg>
      <pc:sldChg chg="del">
        <pc:chgData name="Justine Zayhowski" userId="2377d393-ab0f-4e66-8672-ed1beebcd407" providerId="ADAL" clId="{A7AA9292-A805-421F-B7FE-06835B8484B6}" dt="2020-11-30T16:38:34.437" v="404" actId="47"/>
        <pc:sldMkLst>
          <pc:docMk/>
          <pc:sldMk cId="1534380008" sldId="1510"/>
        </pc:sldMkLst>
      </pc:sldChg>
      <pc:sldChg chg="del">
        <pc:chgData name="Justine Zayhowski" userId="2377d393-ab0f-4e66-8672-ed1beebcd407" providerId="ADAL" clId="{A7AA9292-A805-421F-B7FE-06835B8484B6}" dt="2020-11-30T16:38:33.785" v="401" actId="47"/>
        <pc:sldMkLst>
          <pc:docMk/>
          <pc:sldMk cId="3336706788" sldId="1511"/>
        </pc:sldMkLst>
      </pc:sldChg>
      <pc:sldChg chg="del">
        <pc:chgData name="Justine Zayhowski" userId="2377d393-ab0f-4e66-8672-ed1beebcd407" providerId="ADAL" clId="{A7AA9292-A805-421F-B7FE-06835B8484B6}" dt="2020-11-30T16:37:58.144" v="366" actId="47"/>
        <pc:sldMkLst>
          <pc:docMk/>
          <pc:sldMk cId="106047338" sldId="1512"/>
        </pc:sldMkLst>
      </pc:sldChg>
      <pc:sldChg chg="del">
        <pc:chgData name="Justine Zayhowski" userId="2377d393-ab0f-4e66-8672-ed1beebcd407" providerId="ADAL" clId="{A7AA9292-A805-421F-B7FE-06835B8484B6}" dt="2020-11-30T16:38:34.706" v="405" actId="47"/>
        <pc:sldMkLst>
          <pc:docMk/>
          <pc:sldMk cId="2196500935" sldId="1514"/>
        </pc:sldMkLst>
      </pc:sldChg>
      <pc:sldChg chg="del">
        <pc:chgData name="Justine Zayhowski" userId="2377d393-ab0f-4e66-8672-ed1beebcd407" providerId="ADAL" clId="{A7AA9292-A805-421F-B7FE-06835B8484B6}" dt="2020-11-30T16:38:34.990" v="406" actId="47"/>
        <pc:sldMkLst>
          <pc:docMk/>
          <pc:sldMk cId="4282725040" sldId="1515"/>
        </pc:sldMkLst>
      </pc:sldChg>
      <pc:sldChg chg="del">
        <pc:chgData name="Justine Zayhowski" userId="2377d393-ab0f-4e66-8672-ed1beebcd407" providerId="ADAL" clId="{A7AA9292-A805-421F-B7FE-06835B8484B6}" dt="2020-11-30T16:38:38.233" v="415" actId="47"/>
        <pc:sldMkLst>
          <pc:docMk/>
          <pc:sldMk cId="836771716" sldId="1516"/>
        </pc:sldMkLst>
      </pc:sldChg>
      <pc:sldChg chg="del">
        <pc:chgData name="Justine Zayhowski" userId="2377d393-ab0f-4e66-8672-ed1beebcd407" providerId="ADAL" clId="{A7AA9292-A805-421F-B7FE-06835B8484B6}" dt="2020-11-30T16:38:33.556" v="400" actId="47"/>
        <pc:sldMkLst>
          <pc:docMk/>
          <pc:sldMk cId="1884594512" sldId="1517"/>
        </pc:sldMkLst>
      </pc:sldChg>
      <pc:sldChg chg="del">
        <pc:chgData name="Justine Zayhowski" userId="2377d393-ab0f-4e66-8672-ed1beebcd407" providerId="ADAL" clId="{A7AA9292-A805-421F-B7FE-06835B8484B6}" dt="2020-11-30T16:38:33.324" v="399" actId="47"/>
        <pc:sldMkLst>
          <pc:docMk/>
          <pc:sldMk cId="3650825949" sldId="1518"/>
        </pc:sldMkLst>
      </pc:sldChg>
      <pc:sldChg chg="del">
        <pc:chgData name="Justine Zayhowski" userId="2377d393-ab0f-4e66-8672-ed1beebcd407" providerId="ADAL" clId="{A7AA9292-A805-421F-B7FE-06835B8484B6}" dt="2020-11-30T16:38:34.006" v="402" actId="47"/>
        <pc:sldMkLst>
          <pc:docMk/>
          <pc:sldMk cId="433791631" sldId="1519"/>
        </pc:sldMkLst>
      </pc:sldChg>
      <pc:sldChg chg="del">
        <pc:chgData name="Justine Zayhowski" userId="2377d393-ab0f-4e66-8672-ed1beebcd407" providerId="ADAL" clId="{A7AA9292-A805-421F-B7FE-06835B8484B6}" dt="2020-11-30T16:38:37.943" v="414" actId="47"/>
        <pc:sldMkLst>
          <pc:docMk/>
          <pc:sldMk cId="913840089" sldId="1520"/>
        </pc:sldMkLst>
      </pc:sldChg>
      <pc:sldChg chg="del">
        <pc:chgData name="Justine Zayhowski" userId="2377d393-ab0f-4e66-8672-ed1beebcd407" providerId="ADAL" clId="{A7AA9292-A805-421F-B7FE-06835B8484B6}" dt="2020-11-30T16:36:45.413" v="327" actId="47"/>
        <pc:sldMkLst>
          <pc:docMk/>
          <pc:sldMk cId="2520337176" sldId="1521"/>
        </pc:sldMkLst>
      </pc:sldChg>
      <pc:sldChg chg="del">
        <pc:chgData name="Justine Zayhowski" userId="2377d393-ab0f-4e66-8672-ed1beebcd407" providerId="ADAL" clId="{A7AA9292-A805-421F-B7FE-06835B8484B6}" dt="2020-11-30T16:38:36.520" v="410" actId="47"/>
        <pc:sldMkLst>
          <pc:docMk/>
          <pc:sldMk cId="2217316014" sldId="1522"/>
        </pc:sldMkLst>
      </pc:sldChg>
      <pc:sldChg chg="modSp add del mod">
        <pc:chgData name="Justine Zayhowski" userId="2377d393-ab0f-4e66-8672-ed1beebcd407" providerId="ADAL" clId="{A7AA9292-A805-421F-B7FE-06835B8484B6}" dt="2020-11-30T16:37:32.458" v="341" actId="47"/>
        <pc:sldMkLst>
          <pc:docMk/>
          <pc:sldMk cId="886849591" sldId="1523"/>
        </pc:sldMkLst>
        <pc:spChg chg="mod">
          <ac:chgData name="Justine Zayhowski" userId="2377d393-ab0f-4e66-8672-ed1beebcd407" providerId="ADAL" clId="{A7AA9292-A805-421F-B7FE-06835B8484B6}" dt="2020-11-30T16:37:24.295" v="340" actId="20577"/>
          <ac:spMkLst>
            <pc:docMk/>
            <pc:sldMk cId="886849591" sldId="1523"/>
            <ac:spMk id="3" creationId="{8E396B14-F9D7-4ACC-AED3-6E88E76396F5}"/>
          </ac:spMkLst>
        </pc:spChg>
        <pc:spChg chg="mod">
          <ac:chgData name="Justine Zayhowski" userId="2377d393-ab0f-4e66-8672-ed1beebcd407" providerId="ADAL" clId="{A7AA9292-A805-421F-B7FE-06835B8484B6}" dt="2020-11-30T16:35:41.054" v="222" actId="1035"/>
          <ac:spMkLst>
            <pc:docMk/>
            <pc:sldMk cId="886849591" sldId="1523"/>
            <ac:spMk id="5" creationId="{D3915D3D-656E-48AA-8D63-358A7E5AA453}"/>
          </ac:spMkLst>
        </pc:spChg>
      </pc:sldChg>
      <pc:sldChg chg="modSp new del mod">
        <pc:chgData name="Justine Zayhowski" userId="2377d393-ab0f-4e66-8672-ed1beebcd407" providerId="ADAL" clId="{A7AA9292-A805-421F-B7FE-06835B8484B6}" dt="2020-12-24T16:58:46.508" v="13101" actId="47"/>
        <pc:sldMkLst>
          <pc:docMk/>
          <pc:sldMk cId="4038367949" sldId="1524"/>
        </pc:sldMkLst>
        <pc:spChg chg="mod">
          <ac:chgData name="Justine Zayhowski" userId="2377d393-ab0f-4e66-8672-ed1beebcd407" providerId="ADAL" clId="{A7AA9292-A805-421F-B7FE-06835B8484B6}" dt="2020-11-30T16:36:41.343" v="326"/>
          <ac:spMkLst>
            <pc:docMk/>
            <pc:sldMk cId="4038367949" sldId="1524"/>
            <ac:spMk id="2" creationId="{1112187D-1706-4DFD-BAB7-FA761CC572C7}"/>
          </ac:spMkLst>
        </pc:spChg>
      </pc:sldChg>
      <pc:sldChg chg="modSp new del mod">
        <pc:chgData name="Justine Zayhowski" userId="2377d393-ab0f-4e66-8672-ed1beebcd407" providerId="ADAL" clId="{A7AA9292-A805-421F-B7FE-06835B8484B6}" dt="2020-12-24T16:58:47.141" v="13102" actId="47"/>
        <pc:sldMkLst>
          <pc:docMk/>
          <pc:sldMk cId="2806387139" sldId="1525"/>
        </pc:sldMkLst>
        <pc:spChg chg="mod">
          <ac:chgData name="Justine Zayhowski" userId="2377d393-ab0f-4e66-8672-ed1beebcd407" providerId="ADAL" clId="{A7AA9292-A805-421F-B7FE-06835B8484B6}" dt="2020-11-30T16:37:13.048" v="335" actId="20577"/>
          <ac:spMkLst>
            <pc:docMk/>
            <pc:sldMk cId="2806387139" sldId="1525"/>
            <ac:spMk id="2" creationId="{90C9C184-1763-4D4C-AE46-0D227DEBDE0D}"/>
          </ac:spMkLst>
        </pc:spChg>
      </pc:sldChg>
      <pc:sldChg chg="modSp add del mod">
        <pc:chgData name="Justine Zayhowski" userId="2377d393-ab0f-4e66-8672-ed1beebcd407" providerId="ADAL" clId="{A7AA9292-A805-421F-B7FE-06835B8484B6}" dt="2020-12-24T16:58:44.664" v="13099" actId="47"/>
        <pc:sldMkLst>
          <pc:docMk/>
          <pc:sldMk cId="1179094824" sldId="1526"/>
        </pc:sldMkLst>
        <pc:spChg chg="mod">
          <ac:chgData name="Justine Zayhowski" userId="2377d393-ab0f-4e66-8672-ed1beebcd407" providerId="ADAL" clId="{A7AA9292-A805-421F-B7FE-06835B8484B6}" dt="2020-11-30T16:37:37.091" v="359" actId="1036"/>
          <ac:spMkLst>
            <pc:docMk/>
            <pc:sldMk cId="1179094824" sldId="1526"/>
            <ac:spMk id="5" creationId="{D3915D3D-656E-48AA-8D63-358A7E5AA453}"/>
          </ac:spMkLst>
        </pc:spChg>
      </pc:sldChg>
      <pc:sldChg chg="modSp new del mod">
        <pc:chgData name="Justine Zayhowski" userId="2377d393-ab0f-4e66-8672-ed1beebcd407" providerId="ADAL" clId="{A7AA9292-A805-421F-B7FE-06835B8484B6}" dt="2020-12-24T16:58:47.977" v="13103" actId="47"/>
        <pc:sldMkLst>
          <pc:docMk/>
          <pc:sldMk cId="1679820800" sldId="1527"/>
        </pc:sldMkLst>
        <pc:spChg chg="mod">
          <ac:chgData name="Justine Zayhowski" userId="2377d393-ab0f-4e66-8672-ed1beebcd407" providerId="ADAL" clId="{A7AA9292-A805-421F-B7FE-06835B8484B6}" dt="2020-11-30T16:37:55.320" v="364" actId="20577"/>
          <ac:spMkLst>
            <pc:docMk/>
            <pc:sldMk cId="1679820800" sldId="1527"/>
            <ac:spMk id="2" creationId="{5E97A215-4ED5-420D-88C6-B45C59FE1BA7}"/>
          </ac:spMkLst>
        </pc:spChg>
      </pc:sldChg>
      <pc:sldChg chg="modSp add del mod">
        <pc:chgData name="Justine Zayhowski" userId="2377d393-ab0f-4e66-8672-ed1beebcd407" providerId="ADAL" clId="{A7AA9292-A805-421F-B7FE-06835B8484B6}" dt="2020-12-24T16:58:57.031" v="13127" actId="47"/>
        <pc:sldMkLst>
          <pc:docMk/>
          <pc:sldMk cId="2327247817" sldId="1528"/>
        </pc:sldMkLst>
        <pc:spChg chg="mod">
          <ac:chgData name="Justine Zayhowski" userId="2377d393-ab0f-4e66-8672-ed1beebcd407" providerId="ADAL" clId="{A7AA9292-A805-421F-B7FE-06835B8484B6}" dt="2020-11-30T16:47:24.766" v="469" actId="1035"/>
          <ac:spMkLst>
            <pc:docMk/>
            <pc:sldMk cId="2327247817" sldId="1528"/>
            <ac:spMk id="5" creationId="{D3915D3D-656E-48AA-8D63-358A7E5AA453}"/>
          </ac:spMkLst>
        </pc:spChg>
      </pc:sldChg>
      <pc:sldChg chg="modSp new mod">
        <pc:chgData name="Justine Zayhowski" userId="2377d393-ab0f-4e66-8672-ed1beebcd407" providerId="ADAL" clId="{A7AA9292-A805-421F-B7FE-06835B8484B6}" dt="2020-12-17T22:02:26.969" v="2588" actId="20577"/>
        <pc:sldMkLst>
          <pc:docMk/>
          <pc:sldMk cId="1859471436" sldId="1529"/>
        </pc:sldMkLst>
        <pc:spChg chg="mod">
          <ac:chgData name="Justine Zayhowski" userId="2377d393-ab0f-4e66-8672-ed1beebcd407" providerId="ADAL" clId="{A7AA9292-A805-421F-B7FE-06835B8484B6}" dt="2020-12-17T21:40:36.788" v="1063" actId="20577"/>
          <ac:spMkLst>
            <pc:docMk/>
            <pc:sldMk cId="1859471436" sldId="1529"/>
            <ac:spMk id="2" creationId="{0BF6876E-8192-461A-8CD4-FB7430E5A0B3}"/>
          </ac:spMkLst>
        </pc:spChg>
        <pc:spChg chg="mod">
          <ac:chgData name="Justine Zayhowski" userId="2377d393-ab0f-4e66-8672-ed1beebcd407" providerId="ADAL" clId="{A7AA9292-A805-421F-B7FE-06835B8484B6}" dt="2020-12-17T22:02:26.969" v="2588" actId="20577"/>
          <ac:spMkLst>
            <pc:docMk/>
            <pc:sldMk cId="1859471436" sldId="1529"/>
            <ac:spMk id="3" creationId="{FE24C366-1DA0-45BF-A80F-D4B7E53E9175}"/>
          </ac:spMkLst>
        </pc:spChg>
      </pc:sldChg>
      <pc:sldChg chg="addSp delSp modSp new mod">
        <pc:chgData name="Justine Zayhowski" userId="2377d393-ab0f-4e66-8672-ed1beebcd407" providerId="ADAL" clId="{A7AA9292-A805-421F-B7FE-06835B8484B6}" dt="2021-01-06T15:39:03.521" v="20426" actId="20577"/>
        <pc:sldMkLst>
          <pc:docMk/>
          <pc:sldMk cId="873662123" sldId="1530"/>
        </pc:sldMkLst>
        <pc:spChg chg="mod">
          <ac:chgData name="Justine Zayhowski" userId="2377d393-ab0f-4e66-8672-ed1beebcd407" providerId="ADAL" clId="{A7AA9292-A805-421F-B7FE-06835B8484B6}" dt="2020-12-17T21:46:35.158" v="1748" actId="20577"/>
          <ac:spMkLst>
            <pc:docMk/>
            <pc:sldMk cId="873662123" sldId="1530"/>
            <ac:spMk id="2" creationId="{96310713-C716-4C62-97FD-CC56499FD5C0}"/>
          </ac:spMkLst>
        </pc:spChg>
        <pc:spChg chg="mod">
          <ac:chgData name="Justine Zayhowski" userId="2377d393-ab0f-4e66-8672-ed1beebcd407" providerId="ADAL" clId="{A7AA9292-A805-421F-B7FE-06835B8484B6}" dt="2021-01-06T15:39:03.521" v="20426" actId="20577"/>
          <ac:spMkLst>
            <pc:docMk/>
            <pc:sldMk cId="873662123" sldId="1530"/>
            <ac:spMk id="3" creationId="{EA39D0E9-9042-4425-B694-1F433C63E49D}"/>
          </ac:spMkLst>
        </pc:spChg>
        <pc:spChg chg="add del mod">
          <ac:chgData name="Justine Zayhowski" userId="2377d393-ab0f-4e66-8672-ed1beebcd407" providerId="ADAL" clId="{A7AA9292-A805-421F-B7FE-06835B8484B6}" dt="2020-12-17T21:59:26.663" v="2388"/>
          <ac:spMkLst>
            <pc:docMk/>
            <pc:sldMk cId="873662123" sldId="1530"/>
            <ac:spMk id="4" creationId="{A5EBBD26-6231-46D8-9EFE-94838D09EEDE}"/>
          </ac:spMkLst>
        </pc:spChg>
        <pc:spChg chg="add del mod">
          <ac:chgData name="Justine Zayhowski" userId="2377d393-ab0f-4e66-8672-ed1beebcd407" providerId="ADAL" clId="{A7AA9292-A805-421F-B7FE-06835B8484B6}" dt="2020-12-28T14:35:55.206" v="13668" actId="478"/>
          <ac:spMkLst>
            <pc:docMk/>
            <pc:sldMk cId="873662123" sldId="1530"/>
            <ac:spMk id="5" creationId="{66CA1F97-F012-4A84-9B43-0230EE23760C}"/>
          </ac:spMkLst>
        </pc:spChg>
      </pc:sldChg>
      <pc:sldChg chg="addSp delSp modSp new del mod">
        <pc:chgData name="Justine Zayhowski" userId="2377d393-ab0f-4e66-8672-ed1beebcd407" providerId="ADAL" clId="{A7AA9292-A805-421F-B7FE-06835B8484B6}" dt="2020-12-17T22:17:28.688" v="3098" actId="47"/>
        <pc:sldMkLst>
          <pc:docMk/>
          <pc:sldMk cId="4283554620" sldId="1531"/>
        </pc:sldMkLst>
        <pc:spChg chg="mod">
          <ac:chgData name="Justine Zayhowski" userId="2377d393-ab0f-4e66-8672-ed1beebcd407" providerId="ADAL" clId="{A7AA9292-A805-421F-B7FE-06835B8484B6}" dt="2020-12-17T22:02:55.604" v="2675" actId="313"/>
          <ac:spMkLst>
            <pc:docMk/>
            <pc:sldMk cId="4283554620" sldId="1531"/>
            <ac:spMk id="2" creationId="{ECC42627-DA01-40B8-AE5D-BF6C6AA16A2E}"/>
          </ac:spMkLst>
        </pc:spChg>
        <pc:spChg chg="del mod">
          <ac:chgData name="Justine Zayhowski" userId="2377d393-ab0f-4e66-8672-ed1beebcd407" providerId="ADAL" clId="{A7AA9292-A805-421F-B7FE-06835B8484B6}" dt="2020-12-17T22:11:25.790" v="2684"/>
          <ac:spMkLst>
            <pc:docMk/>
            <pc:sldMk cId="4283554620" sldId="1531"/>
            <ac:spMk id="3" creationId="{E3FD1D75-534D-499C-B42A-2C455974F69C}"/>
          </ac:spMkLst>
        </pc:spChg>
        <pc:graphicFrameChg chg="add mod modGraphic">
          <ac:chgData name="Justine Zayhowski" userId="2377d393-ab0f-4e66-8672-ed1beebcd407" providerId="ADAL" clId="{A7AA9292-A805-421F-B7FE-06835B8484B6}" dt="2020-12-17T22:13:02.873" v="2753" actId="1076"/>
          <ac:graphicFrameMkLst>
            <pc:docMk/>
            <pc:sldMk cId="4283554620" sldId="1531"/>
            <ac:graphicFrameMk id="4" creationId="{D90BC97E-2519-4555-8DF3-2F3AC018436B}"/>
          </ac:graphicFrameMkLst>
        </pc:graphicFrameChg>
      </pc:sldChg>
      <pc:sldChg chg="addSp delSp modSp new mod">
        <pc:chgData name="Justine Zayhowski" userId="2377d393-ab0f-4e66-8672-ed1beebcd407" providerId="ADAL" clId="{A7AA9292-A805-421F-B7FE-06835B8484B6}" dt="2021-01-13T14:18:10.437" v="24135" actId="1035"/>
        <pc:sldMkLst>
          <pc:docMk/>
          <pc:sldMk cId="548350180" sldId="1532"/>
        </pc:sldMkLst>
        <pc:spChg chg="mod">
          <ac:chgData name="Justine Zayhowski" userId="2377d393-ab0f-4e66-8672-ed1beebcd407" providerId="ADAL" clId="{A7AA9292-A805-421F-B7FE-06835B8484B6}" dt="2020-12-17T22:13:12.167" v="2755"/>
          <ac:spMkLst>
            <pc:docMk/>
            <pc:sldMk cId="548350180" sldId="1532"/>
            <ac:spMk id="2" creationId="{6B1F7927-819D-4A4F-8313-886FAE8403C5}"/>
          </ac:spMkLst>
        </pc:spChg>
        <pc:spChg chg="mod">
          <ac:chgData name="Justine Zayhowski" userId="2377d393-ab0f-4e66-8672-ed1beebcd407" providerId="ADAL" clId="{A7AA9292-A805-421F-B7FE-06835B8484B6}" dt="2021-01-13T14:18:10.437" v="24135" actId="1035"/>
          <ac:spMkLst>
            <pc:docMk/>
            <pc:sldMk cId="548350180" sldId="1532"/>
            <ac:spMk id="3" creationId="{C1ACF851-F1A0-47BB-B553-CF914E9CC80C}"/>
          </ac:spMkLst>
        </pc:spChg>
        <pc:spChg chg="add del mod">
          <ac:chgData name="Justine Zayhowski" userId="2377d393-ab0f-4e66-8672-ed1beebcd407" providerId="ADAL" clId="{A7AA9292-A805-421F-B7FE-06835B8484B6}" dt="2021-01-06T12:37:57.746" v="18500" actId="478"/>
          <ac:spMkLst>
            <pc:docMk/>
            <pc:sldMk cId="548350180" sldId="1532"/>
            <ac:spMk id="4" creationId="{5C220370-B9B1-4E6D-844A-A589FD3286C7}"/>
          </ac:spMkLst>
        </pc:spChg>
        <pc:spChg chg="add del mod">
          <ac:chgData name="Justine Zayhowski" userId="2377d393-ab0f-4e66-8672-ed1beebcd407" providerId="ADAL" clId="{A7AA9292-A805-421F-B7FE-06835B8484B6}" dt="2020-12-18T15:42:21.849" v="5954" actId="478"/>
          <ac:spMkLst>
            <pc:docMk/>
            <pc:sldMk cId="548350180" sldId="1532"/>
            <ac:spMk id="4" creationId="{75DB04BB-990C-4765-B726-983A0D0EF84B}"/>
          </ac:spMkLst>
        </pc:spChg>
        <pc:spChg chg="add del mod">
          <ac:chgData name="Justine Zayhowski" userId="2377d393-ab0f-4e66-8672-ed1beebcd407" providerId="ADAL" clId="{A7AA9292-A805-421F-B7FE-06835B8484B6}" dt="2021-01-07T13:39:43.962" v="20922" actId="478"/>
          <ac:spMkLst>
            <pc:docMk/>
            <pc:sldMk cId="548350180" sldId="1532"/>
            <ac:spMk id="5" creationId="{61625ED5-FFD2-4244-83B7-6F2DE5314DBD}"/>
          </ac:spMkLst>
        </pc:spChg>
      </pc:sldChg>
      <pc:sldChg chg="addSp delSp modSp new mod addCm delCm modCm">
        <pc:chgData name="Justine Zayhowski" userId="2377d393-ab0f-4e66-8672-ed1beebcd407" providerId="ADAL" clId="{A7AA9292-A805-421F-B7FE-06835B8484B6}" dt="2021-01-08T20:24:40.455" v="21771" actId="2711"/>
        <pc:sldMkLst>
          <pc:docMk/>
          <pc:sldMk cId="1714805313" sldId="1533"/>
        </pc:sldMkLst>
        <pc:spChg chg="mod">
          <ac:chgData name="Justine Zayhowski" userId="2377d393-ab0f-4e66-8672-ed1beebcd407" providerId="ADAL" clId="{A7AA9292-A805-421F-B7FE-06835B8484B6}" dt="2020-12-17T22:19:45.494" v="3260" actId="20577"/>
          <ac:spMkLst>
            <pc:docMk/>
            <pc:sldMk cId="1714805313" sldId="1533"/>
            <ac:spMk id="2" creationId="{09EB5240-24B9-4BD5-8C19-8C1E9F90C163}"/>
          </ac:spMkLst>
        </pc:spChg>
        <pc:spChg chg="del mod">
          <ac:chgData name="Justine Zayhowski" userId="2377d393-ab0f-4e66-8672-ed1beebcd407" providerId="ADAL" clId="{A7AA9292-A805-421F-B7FE-06835B8484B6}" dt="2021-01-08T20:22:01.958" v="21720" actId="478"/>
          <ac:spMkLst>
            <pc:docMk/>
            <pc:sldMk cId="1714805313" sldId="1533"/>
            <ac:spMk id="3" creationId="{B2E79AF0-ADCC-4CB5-9293-87299CFF713B}"/>
          </ac:spMkLst>
        </pc:spChg>
        <pc:spChg chg="add del mod">
          <ac:chgData name="Justine Zayhowski" userId="2377d393-ab0f-4e66-8672-ed1beebcd407" providerId="ADAL" clId="{A7AA9292-A805-421F-B7FE-06835B8484B6}" dt="2021-01-08T20:23:16.371" v="21739" actId="478"/>
          <ac:spMkLst>
            <pc:docMk/>
            <pc:sldMk cId="1714805313" sldId="1533"/>
            <ac:spMk id="4" creationId="{D8F28188-A374-4BDC-9B7E-6A89C49F2AB7}"/>
          </ac:spMkLst>
        </pc:spChg>
        <pc:spChg chg="add del mod">
          <ac:chgData name="Justine Zayhowski" userId="2377d393-ab0f-4e66-8672-ed1beebcd407" providerId="ADAL" clId="{A7AA9292-A805-421F-B7FE-06835B8484B6}" dt="2020-12-30T16:56:05.367" v="17691" actId="478"/>
          <ac:spMkLst>
            <pc:docMk/>
            <pc:sldMk cId="1714805313" sldId="1533"/>
            <ac:spMk id="6" creationId="{2A013A1F-0D5D-4221-8294-CBEFA7438560}"/>
          </ac:spMkLst>
        </pc:spChg>
        <pc:spChg chg="add del mod">
          <ac:chgData name="Justine Zayhowski" userId="2377d393-ab0f-4e66-8672-ed1beebcd407" providerId="ADAL" clId="{A7AA9292-A805-421F-B7FE-06835B8484B6}" dt="2020-12-28T15:06:21.007" v="14729" actId="478"/>
          <ac:spMkLst>
            <pc:docMk/>
            <pc:sldMk cId="1714805313" sldId="1533"/>
            <ac:spMk id="6" creationId="{F69B6F9C-F38C-4D0B-9DB1-580947A3412E}"/>
          </ac:spMkLst>
        </pc:spChg>
        <pc:spChg chg="add del mod">
          <ac:chgData name="Justine Zayhowski" userId="2377d393-ab0f-4e66-8672-ed1beebcd407" providerId="ADAL" clId="{A7AA9292-A805-421F-B7FE-06835B8484B6}" dt="2021-01-08T20:22:03.262" v="21721" actId="478"/>
          <ac:spMkLst>
            <pc:docMk/>
            <pc:sldMk cId="1714805313" sldId="1533"/>
            <ac:spMk id="8" creationId="{EE318754-7289-49BA-AD92-89F44738D41C}"/>
          </ac:spMkLst>
        </pc:spChg>
        <pc:graphicFrameChg chg="add mod modGraphic">
          <ac:chgData name="Justine Zayhowski" userId="2377d393-ab0f-4e66-8672-ed1beebcd407" providerId="ADAL" clId="{A7AA9292-A805-421F-B7FE-06835B8484B6}" dt="2021-01-08T20:23:38.026" v="21749" actId="1076"/>
          <ac:graphicFrameMkLst>
            <pc:docMk/>
            <pc:sldMk cId="1714805313" sldId="1533"/>
            <ac:graphicFrameMk id="5" creationId="{E4C10673-4BAC-49CF-82BA-8FFE601189D8}"/>
          </ac:graphicFrameMkLst>
        </pc:graphicFrameChg>
        <pc:graphicFrameChg chg="add mod modGraphic">
          <ac:chgData name="Justine Zayhowski" userId="2377d393-ab0f-4e66-8672-ed1beebcd407" providerId="ADAL" clId="{A7AA9292-A805-421F-B7FE-06835B8484B6}" dt="2021-01-08T20:24:40.455" v="21771" actId="2711"/>
          <ac:graphicFrameMkLst>
            <pc:docMk/>
            <pc:sldMk cId="1714805313" sldId="1533"/>
            <ac:graphicFrameMk id="6" creationId="{7C95FCEF-E981-4708-9624-6A63751EF387}"/>
          </ac:graphicFrameMkLst>
        </pc:graphicFrameChg>
      </pc:sldChg>
      <pc:sldChg chg="addSp delSp modSp new mod">
        <pc:chgData name="Justine Zayhowski" userId="2377d393-ab0f-4e66-8672-ed1beebcd407" providerId="ADAL" clId="{A7AA9292-A805-421F-B7FE-06835B8484B6}" dt="2021-01-07T13:40:00.637" v="20934" actId="478"/>
        <pc:sldMkLst>
          <pc:docMk/>
          <pc:sldMk cId="89692184" sldId="1534"/>
        </pc:sldMkLst>
        <pc:spChg chg="mod">
          <ac:chgData name="Justine Zayhowski" userId="2377d393-ab0f-4e66-8672-ed1beebcd407" providerId="ADAL" clId="{A7AA9292-A805-421F-B7FE-06835B8484B6}" dt="2020-12-17T22:31:06.582" v="3846" actId="20577"/>
          <ac:spMkLst>
            <pc:docMk/>
            <pc:sldMk cId="89692184" sldId="1534"/>
            <ac:spMk id="2" creationId="{E9E8691C-A694-4A45-A038-F72B9C23EEA0}"/>
          </ac:spMkLst>
        </pc:spChg>
        <pc:spChg chg="mod">
          <ac:chgData name="Justine Zayhowski" userId="2377d393-ab0f-4e66-8672-ed1beebcd407" providerId="ADAL" clId="{A7AA9292-A805-421F-B7FE-06835B8484B6}" dt="2021-01-06T15:39:23.257" v="20429" actId="20577"/>
          <ac:spMkLst>
            <pc:docMk/>
            <pc:sldMk cId="89692184" sldId="1534"/>
            <ac:spMk id="3" creationId="{C459E275-C164-416D-AB74-FBFD0C47C667}"/>
          </ac:spMkLst>
        </pc:spChg>
        <pc:spChg chg="add del mod">
          <ac:chgData name="Justine Zayhowski" userId="2377d393-ab0f-4e66-8672-ed1beebcd407" providerId="ADAL" clId="{A7AA9292-A805-421F-B7FE-06835B8484B6}" dt="2020-12-28T16:01:36.578" v="15975" actId="478"/>
          <ac:spMkLst>
            <pc:docMk/>
            <pc:sldMk cId="89692184" sldId="1534"/>
            <ac:spMk id="4" creationId="{19EDC8E9-8B8A-4444-A79D-4EAEE3236A84}"/>
          </ac:spMkLst>
        </pc:spChg>
        <pc:spChg chg="add del mod">
          <ac:chgData name="Justine Zayhowski" userId="2377d393-ab0f-4e66-8672-ed1beebcd407" providerId="ADAL" clId="{A7AA9292-A805-421F-B7FE-06835B8484B6}" dt="2021-01-07T13:40:00.637" v="20934" actId="478"/>
          <ac:spMkLst>
            <pc:docMk/>
            <pc:sldMk cId="89692184" sldId="1534"/>
            <ac:spMk id="5" creationId="{410A9A71-C039-4273-9909-59E831762D0F}"/>
          </ac:spMkLst>
        </pc:spChg>
        <pc:graphicFrameChg chg="add del mod">
          <ac:chgData name="Justine Zayhowski" userId="2377d393-ab0f-4e66-8672-ed1beebcd407" providerId="ADAL" clId="{A7AA9292-A805-421F-B7FE-06835B8484B6}" dt="2020-12-18T14:11:52.230" v="4475"/>
          <ac:graphicFrameMkLst>
            <pc:docMk/>
            <pc:sldMk cId="89692184" sldId="1534"/>
            <ac:graphicFrameMk id="5" creationId="{71957762-AAC1-4DFD-B327-F25363D0E5C4}"/>
          </ac:graphicFrameMkLst>
        </pc:graphicFrameChg>
        <pc:graphicFrameChg chg="add del mod">
          <ac:chgData name="Justine Zayhowski" userId="2377d393-ab0f-4e66-8672-ed1beebcd407" providerId="ADAL" clId="{A7AA9292-A805-421F-B7FE-06835B8484B6}" dt="2020-12-28T14:42:54.922" v="14076" actId="478"/>
          <ac:graphicFrameMkLst>
            <pc:docMk/>
            <pc:sldMk cId="89692184" sldId="1534"/>
            <ac:graphicFrameMk id="6" creationId="{00C1D98E-05EB-40AF-885D-8B1317B40187}"/>
          </ac:graphicFrameMkLst>
        </pc:graphicFrameChg>
      </pc:sldChg>
      <pc:sldChg chg="addSp delSp modSp new mod addCm delCm">
        <pc:chgData name="Justine Zayhowski" userId="2377d393-ab0f-4e66-8672-ed1beebcd407" providerId="ADAL" clId="{A7AA9292-A805-421F-B7FE-06835B8484B6}" dt="2021-01-13T14:18:38.371" v="24137" actId="14100"/>
        <pc:sldMkLst>
          <pc:docMk/>
          <pc:sldMk cId="320089514" sldId="1535"/>
        </pc:sldMkLst>
        <pc:spChg chg="mod">
          <ac:chgData name="Justine Zayhowski" userId="2377d393-ab0f-4e66-8672-ed1beebcd407" providerId="ADAL" clId="{A7AA9292-A805-421F-B7FE-06835B8484B6}" dt="2020-12-17T22:33:40.540" v="3947" actId="14100"/>
          <ac:spMkLst>
            <pc:docMk/>
            <pc:sldMk cId="320089514" sldId="1535"/>
            <ac:spMk id="2" creationId="{0A38A3BD-D56F-4DEB-9EC3-1EA9574DA73F}"/>
          </ac:spMkLst>
        </pc:spChg>
        <pc:spChg chg="mod">
          <ac:chgData name="Justine Zayhowski" userId="2377d393-ab0f-4e66-8672-ed1beebcd407" providerId="ADAL" clId="{A7AA9292-A805-421F-B7FE-06835B8484B6}" dt="2021-01-08T20:24:20.358" v="21769" actId="14100"/>
          <ac:spMkLst>
            <pc:docMk/>
            <pc:sldMk cId="320089514" sldId="1535"/>
            <ac:spMk id="3" creationId="{7E370310-B488-4FF4-BF5D-E8CC64C193E7}"/>
          </ac:spMkLst>
        </pc:spChg>
        <pc:spChg chg="add del mod">
          <ac:chgData name="Justine Zayhowski" userId="2377d393-ab0f-4e66-8672-ed1beebcd407" providerId="ADAL" clId="{A7AA9292-A805-421F-B7FE-06835B8484B6}" dt="2020-12-18T14:10:53.383" v="4423" actId="478"/>
          <ac:spMkLst>
            <pc:docMk/>
            <pc:sldMk cId="320089514" sldId="1535"/>
            <ac:spMk id="5" creationId="{ED58000B-35E9-4CEB-8D60-F5675D293E81}"/>
          </ac:spMkLst>
        </pc:spChg>
        <pc:spChg chg="add del mod">
          <ac:chgData name="Justine Zayhowski" userId="2377d393-ab0f-4e66-8672-ed1beebcd407" providerId="ADAL" clId="{A7AA9292-A805-421F-B7FE-06835B8484B6}" dt="2021-01-08T20:29:35.159" v="22040" actId="478"/>
          <ac:spMkLst>
            <pc:docMk/>
            <pc:sldMk cId="320089514" sldId="1535"/>
            <ac:spMk id="6" creationId="{DD8E4332-8C64-4D23-BDA6-A379E04BA53E}"/>
          </ac:spMkLst>
        </pc:spChg>
        <pc:spChg chg="add del mod">
          <ac:chgData name="Justine Zayhowski" userId="2377d393-ab0f-4e66-8672-ed1beebcd407" providerId="ADAL" clId="{A7AA9292-A805-421F-B7FE-06835B8484B6}" dt="2021-01-08T20:29:07.758" v="22031" actId="478"/>
          <ac:spMkLst>
            <pc:docMk/>
            <pc:sldMk cId="320089514" sldId="1535"/>
            <ac:spMk id="7" creationId="{738C3569-DC42-48D8-9813-892C0EBC1914}"/>
          </ac:spMkLst>
        </pc:spChg>
        <pc:graphicFrameChg chg="add del mod modGraphic">
          <ac:chgData name="Justine Zayhowski" userId="2377d393-ab0f-4e66-8672-ed1beebcd407" providerId="ADAL" clId="{A7AA9292-A805-421F-B7FE-06835B8484B6}" dt="2021-01-08T20:29:59.744" v="22087" actId="14100"/>
          <ac:graphicFrameMkLst>
            <pc:docMk/>
            <pc:sldMk cId="320089514" sldId="1535"/>
            <ac:graphicFrameMk id="4" creationId="{616908FC-206A-45E1-A5F8-62E2204ACA15}"/>
          </ac:graphicFrameMkLst>
        </pc:graphicFrameChg>
        <pc:graphicFrameChg chg="add del mod modGraphic">
          <ac:chgData name="Justine Zayhowski" userId="2377d393-ab0f-4e66-8672-ed1beebcd407" providerId="ADAL" clId="{A7AA9292-A805-421F-B7FE-06835B8484B6}" dt="2021-01-08T20:23:53.674" v="21764" actId="478"/>
          <ac:graphicFrameMkLst>
            <pc:docMk/>
            <pc:sldMk cId="320089514" sldId="1535"/>
            <ac:graphicFrameMk id="5" creationId="{5EF81871-3B81-4C89-8129-6512E38616EC}"/>
          </ac:graphicFrameMkLst>
        </pc:graphicFrameChg>
        <pc:graphicFrameChg chg="add mod modGraphic">
          <ac:chgData name="Justine Zayhowski" userId="2377d393-ab0f-4e66-8672-ed1beebcd407" providerId="ADAL" clId="{A7AA9292-A805-421F-B7FE-06835B8484B6}" dt="2021-01-13T14:18:38.371" v="24137" actId="14100"/>
          <ac:graphicFrameMkLst>
            <pc:docMk/>
            <pc:sldMk cId="320089514" sldId="1535"/>
            <ac:graphicFrameMk id="8" creationId="{3A6FF290-E8BB-44D9-AF19-8BEBDF545217}"/>
          </ac:graphicFrameMkLst>
        </pc:graphicFrameChg>
      </pc:sldChg>
      <pc:sldChg chg="addSp delSp modSp new mod">
        <pc:chgData name="Justine Zayhowski" userId="2377d393-ab0f-4e66-8672-ed1beebcd407" providerId="ADAL" clId="{A7AA9292-A805-421F-B7FE-06835B8484B6}" dt="2021-01-13T14:18:44.406" v="24139" actId="14100"/>
        <pc:sldMkLst>
          <pc:docMk/>
          <pc:sldMk cId="3696934096" sldId="1536"/>
        </pc:sldMkLst>
        <pc:spChg chg="mod">
          <ac:chgData name="Justine Zayhowski" userId="2377d393-ab0f-4e66-8672-ed1beebcd407" providerId="ADAL" clId="{A7AA9292-A805-421F-B7FE-06835B8484B6}" dt="2020-12-18T14:19:07.702" v="4676" actId="20577"/>
          <ac:spMkLst>
            <pc:docMk/>
            <pc:sldMk cId="3696934096" sldId="1536"/>
            <ac:spMk id="2" creationId="{F348D323-8775-4874-AD26-96460057E3D7}"/>
          </ac:spMkLst>
        </pc:spChg>
        <pc:spChg chg="del mod">
          <ac:chgData name="Justine Zayhowski" userId="2377d393-ab0f-4e66-8672-ed1beebcd407" providerId="ADAL" clId="{A7AA9292-A805-421F-B7FE-06835B8484B6}" dt="2021-01-08T20:36:40.602" v="22357" actId="478"/>
          <ac:spMkLst>
            <pc:docMk/>
            <pc:sldMk cId="3696934096" sldId="1536"/>
            <ac:spMk id="3" creationId="{2AACDFD0-0E7E-4189-A1E8-EA9F9678131A}"/>
          </ac:spMkLst>
        </pc:spChg>
        <pc:spChg chg="add del mod">
          <ac:chgData name="Justine Zayhowski" userId="2377d393-ab0f-4e66-8672-ed1beebcd407" providerId="ADAL" clId="{A7AA9292-A805-421F-B7FE-06835B8484B6}" dt="2021-01-08T20:36:37.252" v="22354" actId="478"/>
          <ac:spMkLst>
            <pc:docMk/>
            <pc:sldMk cId="3696934096" sldId="1536"/>
            <ac:spMk id="5" creationId="{FCF3B8DB-E1EF-4B57-B62C-108EB989878D}"/>
          </ac:spMkLst>
        </pc:spChg>
        <pc:spChg chg="add del mod">
          <ac:chgData name="Justine Zayhowski" userId="2377d393-ab0f-4e66-8672-ed1beebcd407" providerId="ADAL" clId="{A7AA9292-A805-421F-B7FE-06835B8484B6}" dt="2021-01-08T20:38:11.342" v="22387" actId="1035"/>
          <ac:spMkLst>
            <pc:docMk/>
            <pc:sldMk cId="3696934096" sldId="1536"/>
            <ac:spMk id="7" creationId="{AA7FC5F5-FEBB-4BE3-960C-DD2403AF5409}"/>
          </ac:spMkLst>
        </pc:spChg>
        <pc:spChg chg="add del mod">
          <ac:chgData name="Justine Zayhowski" userId="2377d393-ab0f-4e66-8672-ed1beebcd407" providerId="ADAL" clId="{A7AA9292-A805-421F-B7FE-06835B8484B6}" dt="2021-01-08T20:36:47.975" v="22359" actId="478"/>
          <ac:spMkLst>
            <pc:docMk/>
            <pc:sldMk cId="3696934096" sldId="1536"/>
            <ac:spMk id="9" creationId="{D11298E0-97F5-4952-A6F9-C37C8D0293E6}"/>
          </ac:spMkLst>
        </pc:spChg>
        <pc:graphicFrameChg chg="add mod modGraphic">
          <ac:chgData name="Justine Zayhowski" userId="2377d393-ab0f-4e66-8672-ed1beebcd407" providerId="ADAL" clId="{A7AA9292-A805-421F-B7FE-06835B8484B6}" dt="2021-01-08T20:39:24.135" v="22424" actId="1035"/>
          <ac:graphicFrameMkLst>
            <pc:docMk/>
            <pc:sldMk cId="3696934096" sldId="1536"/>
            <ac:graphicFrameMk id="4" creationId="{A07F81A8-3F21-4AF1-BE99-52434C3FE90E}"/>
          </ac:graphicFrameMkLst>
        </pc:graphicFrameChg>
        <pc:graphicFrameChg chg="add mod ord modGraphic">
          <ac:chgData name="Justine Zayhowski" userId="2377d393-ab0f-4e66-8672-ed1beebcd407" providerId="ADAL" clId="{A7AA9292-A805-421F-B7FE-06835B8484B6}" dt="2021-01-13T14:18:44.406" v="24139" actId="14100"/>
          <ac:graphicFrameMkLst>
            <pc:docMk/>
            <pc:sldMk cId="3696934096" sldId="1536"/>
            <ac:graphicFrameMk id="6" creationId="{3841D5C1-C544-49BB-A64D-7CDBFF990E5E}"/>
          </ac:graphicFrameMkLst>
        </pc:graphicFrameChg>
      </pc:sldChg>
      <pc:sldChg chg="addSp modSp new mod addCm delCm">
        <pc:chgData name="Justine Zayhowski" userId="2377d393-ab0f-4e66-8672-ed1beebcd407" providerId="ADAL" clId="{A7AA9292-A805-421F-B7FE-06835B8484B6}" dt="2021-01-06T12:51:45.834" v="18762" actId="20577"/>
        <pc:sldMkLst>
          <pc:docMk/>
          <pc:sldMk cId="1420463798" sldId="1537"/>
        </pc:sldMkLst>
        <pc:spChg chg="mod">
          <ac:chgData name="Justine Zayhowski" userId="2377d393-ab0f-4e66-8672-ed1beebcd407" providerId="ADAL" clId="{A7AA9292-A805-421F-B7FE-06835B8484B6}" dt="2020-12-18T15:05:20.761" v="5381" actId="20577"/>
          <ac:spMkLst>
            <pc:docMk/>
            <pc:sldMk cId="1420463798" sldId="1537"/>
            <ac:spMk id="2" creationId="{B57E8FC1-D2D6-43EB-8D44-124110B2CFBE}"/>
          </ac:spMkLst>
        </pc:spChg>
        <pc:spChg chg="mod">
          <ac:chgData name="Justine Zayhowski" userId="2377d393-ab0f-4e66-8672-ed1beebcd407" providerId="ADAL" clId="{A7AA9292-A805-421F-B7FE-06835B8484B6}" dt="2021-01-06T12:51:45.834" v="18762" actId="20577"/>
          <ac:spMkLst>
            <pc:docMk/>
            <pc:sldMk cId="1420463798" sldId="1537"/>
            <ac:spMk id="3" creationId="{99F10C82-2500-4B24-974C-7D4072BD1F06}"/>
          </ac:spMkLst>
        </pc:spChg>
        <pc:spChg chg="add mod">
          <ac:chgData name="Justine Zayhowski" userId="2377d393-ab0f-4e66-8672-ed1beebcd407" providerId="ADAL" clId="{A7AA9292-A805-421F-B7FE-06835B8484B6}" dt="2021-01-06T12:50:33.657" v="18705" actId="1036"/>
          <ac:spMkLst>
            <pc:docMk/>
            <pc:sldMk cId="1420463798" sldId="1537"/>
            <ac:spMk id="5" creationId="{2BAB1D98-85D7-4F26-B9A3-C416A420488B}"/>
          </ac:spMkLst>
        </pc:spChg>
        <pc:spChg chg="add mod">
          <ac:chgData name="Justine Zayhowski" userId="2377d393-ab0f-4e66-8672-ed1beebcd407" providerId="ADAL" clId="{A7AA9292-A805-421F-B7FE-06835B8484B6}" dt="2021-01-06T12:50:30.633" v="18700" actId="1035"/>
          <ac:spMkLst>
            <pc:docMk/>
            <pc:sldMk cId="1420463798" sldId="1537"/>
            <ac:spMk id="6" creationId="{ED32B722-701F-4172-B87F-43D9DCD0FC04}"/>
          </ac:spMkLst>
        </pc:spChg>
        <pc:graphicFrameChg chg="add mod modGraphic">
          <ac:chgData name="Justine Zayhowski" userId="2377d393-ab0f-4e66-8672-ed1beebcd407" providerId="ADAL" clId="{A7AA9292-A805-421F-B7FE-06835B8484B6}" dt="2021-01-06T12:49:57.094" v="18684" actId="1076"/>
          <ac:graphicFrameMkLst>
            <pc:docMk/>
            <pc:sldMk cId="1420463798" sldId="1537"/>
            <ac:graphicFrameMk id="4" creationId="{E95FDC7E-37CF-471F-8625-B1FDD8112C17}"/>
          </ac:graphicFrameMkLst>
        </pc:graphicFrameChg>
      </pc:sldChg>
      <pc:sldChg chg="addSp delSp modSp new mod addCm delCm modCm">
        <pc:chgData name="Justine Zayhowski" userId="2377d393-ab0f-4e66-8672-ed1beebcd407" providerId="ADAL" clId="{A7AA9292-A805-421F-B7FE-06835B8484B6}" dt="2021-01-13T14:23:07.326" v="24218" actId="113"/>
        <pc:sldMkLst>
          <pc:docMk/>
          <pc:sldMk cId="1504907557" sldId="1538"/>
        </pc:sldMkLst>
        <pc:spChg chg="mod">
          <ac:chgData name="Justine Zayhowski" userId="2377d393-ab0f-4e66-8672-ed1beebcd407" providerId="ADAL" clId="{A7AA9292-A805-421F-B7FE-06835B8484B6}" dt="2020-12-18T15:12:33.274" v="5529" actId="20577"/>
          <ac:spMkLst>
            <pc:docMk/>
            <pc:sldMk cId="1504907557" sldId="1538"/>
            <ac:spMk id="2" creationId="{B3C2B592-CE07-43D0-B1E7-2F7199319E98}"/>
          </ac:spMkLst>
        </pc:spChg>
        <pc:spChg chg="mod">
          <ac:chgData name="Justine Zayhowski" userId="2377d393-ab0f-4e66-8672-ed1beebcd407" providerId="ADAL" clId="{A7AA9292-A805-421F-B7FE-06835B8484B6}" dt="2021-01-06T12:54:12.435" v="18777" actId="255"/>
          <ac:spMkLst>
            <pc:docMk/>
            <pc:sldMk cId="1504907557" sldId="1538"/>
            <ac:spMk id="3" creationId="{3B8E3DF3-91B7-4AF5-AA14-3CC7A121023B}"/>
          </ac:spMkLst>
        </pc:spChg>
        <pc:spChg chg="add mod">
          <ac:chgData name="Justine Zayhowski" userId="2377d393-ab0f-4e66-8672-ed1beebcd407" providerId="ADAL" clId="{A7AA9292-A805-421F-B7FE-06835B8484B6}" dt="2021-01-06T15:35:18.296" v="20396" actId="1036"/>
          <ac:spMkLst>
            <pc:docMk/>
            <pc:sldMk cId="1504907557" sldId="1538"/>
            <ac:spMk id="6" creationId="{7F8A204F-7635-48D7-BFC6-F39157A3405D}"/>
          </ac:spMkLst>
        </pc:spChg>
        <pc:graphicFrameChg chg="add mod modGraphic">
          <ac:chgData name="Justine Zayhowski" userId="2377d393-ab0f-4e66-8672-ed1beebcd407" providerId="ADAL" clId="{A7AA9292-A805-421F-B7FE-06835B8484B6}" dt="2021-01-06T12:54:15.905" v="18783" actId="1035"/>
          <ac:graphicFrameMkLst>
            <pc:docMk/>
            <pc:sldMk cId="1504907557" sldId="1538"/>
            <ac:graphicFrameMk id="4" creationId="{62CB3356-088B-4FB8-A215-26A60AEC27A0}"/>
          </ac:graphicFrameMkLst>
        </pc:graphicFrameChg>
        <pc:graphicFrameChg chg="add del mod">
          <ac:chgData name="Justine Zayhowski" userId="2377d393-ab0f-4e66-8672-ed1beebcd407" providerId="ADAL" clId="{A7AA9292-A805-421F-B7FE-06835B8484B6}" dt="2020-12-18T15:23:17.631" v="5718" actId="478"/>
          <ac:graphicFrameMkLst>
            <pc:docMk/>
            <pc:sldMk cId="1504907557" sldId="1538"/>
            <ac:graphicFrameMk id="5" creationId="{667C546C-4F92-44F4-A662-B064B947BF1B}"/>
          </ac:graphicFrameMkLst>
        </pc:graphicFrameChg>
        <pc:graphicFrameChg chg="mod modGraphic">
          <ac:chgData name="Justine Zayhowski" userId="2377d393-ab0f-4e66-8672-ed1beebcd407" providerId="ADAL" clId="{A7AA9292-A805-421F-B7FE-06835B8484B6}" dt="2021-01-13T14:23:07.326" v="24218" actId="113"/>
          <ac:graphicFrameMkLst>
            <pc:docMk/>
            <pc:sldMk cId="1504907557" sldId="1538"/>
            <ac:graphicFrameMk id="7" creationId="{D000299B-FFC5-4D24-B916-A612E1EFD5F0}"/>
          </ac:graphicFrameMkLst>
        </pc:graphicFrameChg>
      </pc:sldChg>
      <pc:sldChg chg="addSp modSp new mod addCm delCm">
        <pc:chgData name="Justine Zayhowski" userId="2377d393-ab0f-4e66-8672-ed1beebcd407" providerId="ADAL" clId="{A7AA9292-A805-421F-B7FE-06835B8484B6}" dt="2021-01-13T14:22:18.701" v="24204" actId="1035"/>
        <pc:sldMkLst>
          <pc:docMk/>
          <pc:sldMk cId="2326987667" sldId="1539"/>
        </pc:sldMkLst>
        <pc:spChg chg="mod">
          <ac:chgData name="Justine Zayhowski" userId="2377d393-ab0f-4e66-8672-ed1beebcd407" providerId="ADAL" clId="{A7AA9292-A805-421F-B7FE-06835B8484B6}" dt="2020-12-18T15:28:19.896" v="5849" actId="20577"/>
          <ac:spMkLst>
            <pc:docMk/>
            <pc:sldMk cId="2326987667" sldId="1539"/>
            <ac:spMk id="2" creationId="{50FDFDBC-7BA2-4640-91B5-4CA6FD58C027}"/>
          </ac:spMkLst>
        </pc:spChg>
        <pc:spChg chg="mod">
          <ac:chgData name="Justine Zayhowski" userId="2377d393-ab0f-4e66-8672-ed1beebcd407" providerId="ADAL" clId="{A7AA9292-A805-421F-B7FE-06835B8484B6}" dt="2021-01-06T13:01:10.347" v="18830" actId="255"/>
          <ac:spMkLst>
            <pc:docMk/>
            <pc:sldMk cId="2326987667" sldId="1539"/>
            <ac:spMk id="3" creationId="{364861FC-6692-4114-8B9C-D3B022278DAD}"/>
          </ac:spMkLst>
        </pc:spChg>
        <pc:spChg chg="add mod">
          <ac:chgData name="Justine Zayhowski" userId="2377d393-ab0f-4e66-8672-ed1beebcd407" providerId="ADAL" clId="{A7AA9292-A805-421F-B7FE-06835B8484B6}" dt="2021-01-06T13:01:59.206" v="18860"/>
          <ac:spMkLst>
            <pc:docMk/>
            <pc:sldMk cId="2326987667" sldId="1539"/>
            <ac:spMk id="5" creationId="{7B957CCC-CAC3-4A74-81A2-F94FB3A33A1A}"/>
          </ac:spMkLst>
        </pc:spChg>
        <pc:graphicFrameChg chg="add mod modGraphic">
          <ac:chgData name="Justine Zayhowski" userId="2377d393-ab0f-4e66-8672-ed1beebcd407" providerId="ADAL" clId="{A7AA9292-A805-421F-B7FE-06835B8484B6}" dt="2021-01-13T14:22:18.701" v="24204" actId="1035"/>
          <ac:graphicFrameMkLst>
            <pc:docMk/>
            <pc:sldMk cId="2326987667" sldId="1539"/>
            <ac:graphicFrameMk id="4" creationId="{C8632FB6-F55E-4B58-8046-D8AF7105DF5D}"/>
          </ac:graphicFrameMkLst>
        </pc:graphicFrameChg>
        <pc:graphicFrameChg chg="modGraphic">
          <ac:chgData name="Justine Zayhowski" userId="2377d393-ab0f-4e66-8672-ed1beebcd407" providerId="ADAL" clId="{A7AA9292-A805-421F-B7FE-06835B8484B6}" dt="2021-01-13T14:22:16.083" v="24192" actId="14100"/>
          <ac:graphicFrameMkLst>
            <pc:docMk/>
            <pc:sldMk cId="2326987667" sldId="1539"/>
            <ac:graphicFrameMk id="6" creationId="{ED6FDEB9-E957-468F-A737-B60E98C2E5CF}"/>
          </ac:graphicFrameMkLst>
        </pc:graphicFrameChg>
      </pc:sldChg>
      <pc:sldChg chg="addSp modSp new del mod delCm">
        <pc:chgData name="Justine Zayhowski" userId="2377d393-ab0f-4e66-8672-ed1beebcd407" providerId="ADAL" clId="{A7AA9292-A805-421F-B7FE-06835B8484B6}" dt="2021-01-28T14:22:52.802" v="25630" actId="2696"/>
        <pc:sldMkLst>
          <pc:docMk/>
          <pc:sldMk cId="4034419199" sldId="1540"/>
        </pc:sldMkLst>
        <pc:spChg chg="mod">
          <ac:chgData name="Justine Zayhowski" userId="2377d393-ab0f-4e66-8672-ed1beebcd407" providerId="ADAL" clId="{A7AA9292-A805-421F-B7FE-06835B8484B6}" dt="2020-12-18T15:56:31.570" v="6752" actId="20577"/>
          <ac:spMkLst>
            <pc:docMk/>
            <pc:sldMk cId="4034419199" sldId="1540"/>
            <ac:spMk id="2" creationId="{685B6FC4-552E-4928-AC74-C5177D72B67E}"/>
          </ac:spMkLst>
        </pc:spChg>
        <pc:spChg chg="mod">
          <ac:chgData name="Justine Zayhowski" userId="2377d393-ab0f-4e66-8672-ed1beebcd407" providerId="ADAL" clId="{A7AA9292-A805-421F-B7FE-06835B8484B6}" dt="2021-01-06T13:03:56.339" v="18902" actId="20577"/>
          <ac:spMkLst>
            <pc:docMk/>
            <pc:sldMk cId="4034419199" sldId="1540"/>
            <ac:spMk id="3" creationId="{53497994-04F2-4183-BDA3-67BAF425F326}"/>
          </ac:spMkLst>
        </pc:spChg>
        <pc:spChg chg="add mod">
          <ac:chgData name="Justine Zayhowski" userId="2377d393-ab0f-4e66-8672-ed1beebcd407" providerId="ADAL" clId="{A7AA9292-A805-421F-B7FE-06835B8484B6}" dt="2021-01-06T13:03:29.202" v="18877" actId="1036"/>
          <ac:spMkLst>
            <pc:docMk/>
            <pc:sldMk cId="4034419199" sldId="1540"/>
            <ac:spMk id="5" creationId="{02866655-18A0-4487-92EB-45E22E435180}"/>
          </ac:spMkLst>
        </pc:spChg>
        <pc:spChg chg="mod">
          <ac:chgData name="Justine Zayhowski" userId="2377d393-ab0f-4e66-8672-ed1beebcd407" providerId="ADAL" clId="{A7AA9292-A805-421F-B7FE-06835B8484B6}" dt="2021-01-13T14:23:59.085" v="24236" actId="1035"/>
          <ac:spMkLst>
            <pc:docMk/>
            <pc:sldMk cId="4034419199" sldId="1540"/>
            <ac:spMk id="7" creationId="{F1484992-4646-4910-BD93-3686C8F5C8EE}"/>
          </ac:spMkLst>
        </pc:spChg>
        <pc:graphicFrameChg chg="add mod modGraphic">
          <ac:chgData name="Justine Zayhowski" userId="2377d393-ab0f-4e66-8672-ed1beebcd407" providerId="ADAL" clId="{A7AA9292-A805-421F-B7FE-06835B8484B6}" dt="2021-01-06T13:03:53.930" v="18901" actId="1036"/>
          <ac:graphicFrameMkLst>
            <pc:docMk/>
            <pc:sldMk cId="4034419199" sldId="1540"/>
            <ac:graphicFrameMk id="4" creationId="{427A3F76-7F50-4126-AF94-A27ED42D987C}"/>
          </ac:graphicFrameMkLst>
        </pc:graphicFrameChg>
        <pc:graphicFrameChg chg="mod modGraphic">
          <ac:chgData name="Justine Zayhowski" userId="2377d393-ab0f-4e66-8672-ed1beebcd407" providerId="ADAL" clId="{A7AA9292-A805-421F-B7FE-06835B8484B6}" dt="2021-01-13T14:23:56.261" v="24233" actId="1035"/>
          <ac:graphicFrameMkLst>
            <pc:docMk/>
            <pc:sldMk cId="4034419199" sldId="1540"/>
            <ac:graphicFrameMk id="6" creationId="{703D5406-9548-4EE0-88A7-EBA10E780383}"/>
          </ac:graphicFrameMkLst>
        </pc:graphicFrameChg>
      </pc:sldChg>
      <pc:sldChg chg="addSp modSp new del mod">
        <pc:chgData name="Justine Zayhowski" userId="2377d393-ab0f-4e66-8672-ed1beebcd407" providerId="ADAL" clId="{A7AA9292-A805-421F-B7FE-06835B8484B6}" dt="2021-01-28T14:22:52.802" v="25630" actId="2696"/>
        <pc:sldMkLst>
          <pc:docMk/>
          <pc:sldMk cId="4294662965" sldId="1541"/>
        </pc:sldMkLst>
        <pc:spChg chg="mod">
          <ac:chgData name="Justine Zayhowski" userId="2377d393-ab0f-4e66-8672-ed1beebcd407" providerId="ADAL" clId="{A7AA9292-A805-421F-B7FE-06835B8484B6}" dt="2020-12-18T16:37:51.630" v="7180" actId="14100"/>
          <ac:spMkLst>
            <pc:docMk/>
            <pc:sldMk cId="4294662965" sldId="1541"/>
            <ac:spMk id="2" creationId="{BB9E6E0C-1FA4-4C2C-8BD1-F188F631684A}"/>
          </ac:spMkLst>
        </pc:spChg>
        <pc:spChg chg="mod">
          <ac:chgData name="Justine Zayhowski" userId="2377d393-ab0f-4e66-8672-ed1beebcd407" providerId="ADAL" clId="{A7AA9292-A805-421F-B7FE-06835B8484B6}" dt="2021-01-06T13:06:20.899" v="18916" actId="20577"/>
          <ac:spMkLst>
            <pc:docMk/>
            <pc:sldMk cId="4294662965" sldId="1541"/>
            <ac:spMk id="3" creationId="{DB4966CA-6796-4FFF-BB42-25D5922591D0}"/>
          </ac:spMkLst>
        </pc:spChg>
        <pc:spChg chg="add mod">
          <ac:chgData name="Justine Zayhowski" userId="2377d393-ab0f-4e66-8672-ed1beebcd407" providerId="ADAL" clId="{A7AA9292-A805-421F-B7FE-06835B8484B6}" dt="2021-01-06T13:06:18.990" v="18915"/>
          <ac:spMkLst>
            <pc:docMk/>
            <pc:sldMk cId="4294662965" sldId="1541"/>
            <ac:spMk id="5" creationId="{EF0997B6-ACFD-4735-8369-4AA1E80C87AA}"/>
          </ac:spMkLst>
        </pc:spChg>
        <pc:graphicFrameChg chg="add mod modGraphic">
          <ac:chgData name="Justine Zayhowski" userId="2377d393-ab0f-4e66-8672-ed1beebcd407" providerId="ADAL" clId="{A7AA9292-A805-421F-B7FE-06835B8484B6}" dt="2021-01-13T14:24:24.470" v="24249" actId="1036"/>
          <ac:graphicFrameMkLst>
            <pc:docMk/>
            <pc:sldMk cId="4294662965" sldId="1541"/>
            <ac:graphicFrameMk id="4" creationId="{82565CFB-AE03-4F5A-A826-F0D5D2134E0A}"/>
          </ac:graphicFrameMkLst>
        </pc:graphicFrameChg>
        <pc:graphicFrameChg chg="mod modGraphic">
          <ac:chgData name="Justine Zayhowski" userId="2377d393-ab0f-4e66-8672-ed1beebcd407" providerId="ADAL" clId="{A7AA9292-A805-421F-B7FE-06835B8484B6}" dt="2021-01-13T14:24:24.470" v="24249" actId="1036"/>
          <ac:graphicFrameMkLst>
            <pc:docMk/>
            <pc:sldMk cId="4294662965" sldId="1541"/>
            <ac:graphicFrameMk id="7" creationId="{E5D7A349-E1E3-4363-A0DC-42780DE9B459}"/>
          </ac:graphicFrameMkLst>
        </pc:graphicFrameChg>
      </pc:sldChg>
      <pc:sldChg chg="addSp modSp new del mod delCm">
        <pc:chgData name="Justine Zayhowski" userId="2377d393-ab0f-4e66-8672-ed1beebcd407" providerId="ADAL" clId="{A7AA9292-A805-421F-B7FE-06835B8484B6}" dt="2021-01-28T14:22:52.802" v="25630" actId="2696"/>
        <pc:sldMkLst>
          <pc:docMk/>
          <pc:sldMk cId="2827253852" sldId="1542"/>
        </pc:sldMkLst>
        <pc:spChg chg="mod">
          <ac:chgData name="Justine Zayhowski" userId="2377d393-ab0f-4e66-8672-ed1beebcd407" providerId="ADAL" clId="{A7AA9292-A805-421F-B7FE-06835B8484B6}" dt="2020-12-18T16:41:53.193" v="7314" actId="20577"/>
          <ac:spMkLst>
            <pc:docMk/>
            <pc:sldMk cId="2827253852" sldId="1542"/>
            <ac:spMk id="2" creationId="{B39196E0-ACB8-4081-BAAD-68BFB44C6585}"/>
          </ac:spMkLst>
        </pc:spChg>
        <pc:spChg chg="mod">
          <ac:chgData name="Justine Zayhowski" userId="2377d393-ab0f-4e66-8672-ed1beebcd407" providerId="ADAL" clId="{A7AA9292-A805-421F-B7FE-06835B8484B6}" dt="2021-01-06T13:18:09.064" v="18929" actId="14100"/>
          <ac:spMkLst>
            <pc:docMk/>
            <pc:sldMk cId="2827253852" sldId="1542"/>
            <ac:spMk id="3" creationId="{ED7C90B3-693B-4B0C-A359-1491F78CFD76}"/>
          </ac:spMkLst>
        </pc:spChg>
        <pc:spChg chg="add mod">
          <ac:chgData name="Justine Zayhowski" userId="2377d393-ab0f-4e66-8672-ed1beebcd407" providerId="ADAL" clId="{A7AA9292-A805-421F-B7FE-06835B8484B6}" dt="2021-01-06T13:18:31.814" v="18954"/>
          <ac:spMkLst>
            <pc:docMk/>
            <pc:sldMk cId="2827253852" sldId="1542"/>
            <ac:spMk id="5" creationId="{0C1535A6-0530-419C-A9F8-75E17C3DAF9E}"/>
          </ac:spMkLst>
        </pc:spChg>
        <pc:graphicFrameChg chg="add mod modGraphic">
          <ac:chgData name="Justine Zayhowski" userId="2377d393-ab0f-4e66-8672-ed1beebcd407" providerId="ADAL" clId="{A7AA9292-A805-421F-B7FE-06835B8484B6}" dt="2021-01-13T14:24:44.245" v="24274" actId="1035"/>
          <ac:graphicFrameMkLst>
            <pc:docMk/>
            <pc:sldMk cId="2827253852" sldId="1542"/>
            <ac:graphicFrameMk id="4" creationId="{C6985055-E32D-4FA0-A826-4C444C91F97C}"/>
          </ac:graphicFrameMkLst>
        </pc:graphicFrameChg>
        <pc:graphicFrameChg chg="mod modGraphic">
          <ac:chgData name="Justine Zayhowski" userId="2377d393-ab0f-4e66-8672-ed1beebcd407" providerId="ADAL" clId="{A7AA9292-A805-421F-B7FE-06835B8484B6}" dt="2021-01-13T14:24:42.157" v="24264" actId="1036"/>
          <ac:graphicFrameMkLst>
            <pc:docMk/>
            <pc:sldMk cId="2827253852" sldId="1542"/>
            <ac:graphicFrameMk id="6" creationId="{3742F499-8498-45F9-A9F0-1C24ABD99E48}"/>
          </ac:graphicFrameMkLst>
        </pc:graphicFrameChg>
      </pc:sldChg>
      <pc:sldChg chg="addSp modSp new del mod">
        <pc:chgData name="Justine Zayhowski" userId="2377d393-ab0f-4e66-8672-ed1beebcd407" providerId="ADAL" clId="{A7AA9292-A805-421F-B7FE-06835B8484B6}" dt="2021-01-28T14:22:52.802" v="25630" actId="2696"/>
        <pc:sldMkLst>
          <pc:docMk/>
          <pc:sldMk cId="91523219" sldId="1543"/>
        </pc:sldMkLst>
        <pc:spChg chg="mod">
          <ac:chgData name="Justine Zayhowski" userId="2377d393-ab0f-4e66-8672-ed1beebcd407" providerId="ADAL" clId="{A7AA9292-A805-421F-B7FE-06835B8484B6}" dt="2020-12-18T16:52:25.470" v="7701" actId="20577"/>
          <ac:spMkLst>
            <pc:docMk/>
            <pc:sldMk cId="91523219" sldId="1543"/>
            <ac:spMk id="2" creationId="{56705586-6D56-4A07-8F28-D3141E471EB3}"/>
          </ac:spMkLst>
        </pc:spChg>
        <pc:spChg chg="mod">
          <ac:chgData name="Justine Zayhowski" userId="2377d393-ab0f-4e66-8672-ed1beebcd407" providerId="ADAL" clId="{A7AA9292-A805-421F-B7FE-06835B8484B6}" dt="2021-01-06T13:20:23.168" v="18996"/>
          <ac:spMkLst>
            <pc:docMk/>
            <pc:sldMk cId="91523219" sldId="1543"/>
            <ac:spMk id="3" creationId="{74E02507-FFC8-4738-8342-A86E5574F4C6}"/>
          </ac:spMkLst>
        </pc:spChg>
        <pc:spChg chg="add mod">
          <ac:chgData name="Justine Zayhowski" userId="2377d393-ab0f-4e66-8672-ed1beebcd407" providerId="ADAL" clId="{A7AA9292-A805-421F-B7FE-06835B8484B6}" dt="2021-01-06T13:20:38.295" v="18999"/>
          <ac:spMkLst>
            <pc:docMk/>
            <pc:sldMk cId="91523219" sldId="1543"/>
            <ac:spMk id="5" creationId="{F72C246E-9627-4F64-BB9B-5612F5D42D80}"/>
          </ac:spMkLst>
        </pc:spChg>
        <pc:graphicFrameChg chg="add mod modGraphic">
          <ac:chgData name="Justine Zayhowski" userId="2377d393-ab0f-4e66-8672-ed1beebcd407" providerId="ADAL" clId="{A7AA9292-A805-421F-B7FE-06835B8484B6}" dt="2021-01-13T14:26:40.463" v="24310" actId="14100"/>
          <ac:graphicFrameMkLst>
            <pc:docMk/>
            <pc:sldMk cId="91523219" sldId="1543"/>
            <ac:graphicFrameMk id="4" creationId="{E7312D6A-5DFD-44D2-8804-11047692A597}"/>
          </ac:graphicFrameMkLst>
        </pc:graphicFrameChg>
        <pc:graphicFrameChg chg="mod modGraphic">
          <ac:chgData name="Justine Zayhowski" userId="2377d393-ab0f-4e66-8672-ed1beebcd407" providerId="ADAL" clId="{A7AA9292-A805-421F-B7FE-06835B8484B6}" dt="2021-01-13T14:26:36.287" v="24284" actId="1036"/>
          <ac:graphicFrameMkLst>
            <pc:docMk/>
            <pc:sldMk cId="91523219" sldId="1543"/>
            <ac:graphicFrameMk id="7" creationId="{A00EC0A3-093C-4F1B-B425-6D2E8B755C18}"/>
          </ac:graphicFrameMkLst>
        </pc:graphicFrameChg>
      </pc:sldChg>
      <pc:sldChg chg="new add del">
        <pc:chgData name="Justine Zayhowski" userId="2377d393-ab0f-4e66-8672-ed1beebcd407" providerId="ADAL" clId="{A7AA9292-A805-421F-B7FE-06835B8484B6}" dt="2020-12-21T19:30:33.821" v="12308" actId="47"/>
        <pc:sldMkLst>
          <pc:docMk/>
          <pc:sldMk cId="2456495310" sldId="1544"/>
        </pc:sldMkLst>
      </pc:sldChg>
      <pc:sldChg chg="addSp modSp new del mod delCm">
        <pc:chgData name="Justine Zayhowski" userId="2377d393-ab0f-4e66-8672-ed1beebcd407" providerId="ADAL" clId="{A7AA9292-A805-421F-B7FE-06835B8484B6}" dt="2021-01-28T14:22:52.802" v="25630" actId="2696"/>
        <pc:sldMkLst>
          <pc:docMk/>
          <pc:sldMk cId="3173968709" sldId="1545"/>
        </pc:sldMkLst>
        <pc:spChg chg="mod">
          <ac:chgData name="Justine Zayhowski" userId="2377d393-ab0f-4e66-8672-ed1beebcd407" providerId="ADAL" clId="{A7AA9292-A805-421F-B7FE-06835B8484B6}" dt="2020-12-18T16:59:21.964" v="7957" actId="20577"/>
          <ac:spMkLst>
            <pc:docMk/>
            <pc:sldMk cId="3173968709" sldId="1545"/>
            <ac:spMk id="2" creationId="{B0D6EB98-C2D7-4E8B-B291-3463CED5C1C2}"/>
          </ac:spMkLst>
        </pc:spChg>
        <pc:spChg chg="mod">
          <ac:chgData name="Justine Zayhowski" userId="2377d393-ab0f-4e66-8672-ed1beebcd407" providerId="ADAL" clId="{A7AA9292-A805-421F-B7FE-06835B8484B6}" dt="2021-01-06T14:26:23.133" v="19041" actId="1036"/>
          <ac:spMkLst>
            <pc:docMk/>
            <pc:sldMk cId="3173968709" sldId="1545"/>
            <ac:spMk id="3" creationId="{7457BE4E-9820-4356-97DF-72EB04A8C60E}"/>
          </ac:spMkLst>
        </pc:spChg>
        <pc:spChg chg="add mod">
          <ac:chgData name="Justine Zayhowski" userId="2377d393-ab0f-4e66-8672-ed1beebcd407" providerId="ADAL" clId="{A7AA9292-A805-421F-B7FE-06835B8484B6}" dt="2021-01-06T14:25:20.701" v="19031" actId="1036"/>
          <ac:spMkLst>
            <pc:docMk/>
            <pc:sldMk cId="3173968709" sldId="1545"/>
            <ac:spMk id="5" creationId="{B1D73052-1E95-4091-AD20-2DF93EB5E300}"/>
          </ac:spMkLst>
        </pc:spChg>
        <pc:graphicFrameChg chg="add mod modGraphic">
          <ac:chgData name="Justine Zayhowski" userId="2377d393-ab0f-4e66-8672-ed1beebcd407" providerId="ADAL" clId="{A7AA9292-A805-421F-B7FE-06835B8484B6}" dt="2021-01-06T14:25:23.253" v="19034" actId="1036"/>
          <ac:graphicFrameMkLst>
            <pc:docMk/>
            <pc:sldMk cId="3173968709" sldId="1545"/>
            <ac:graphicFrameMk id="4" creationId="{AD037B24-F700-4A18-80D7-2A0638A71481}"/>
          </ac:graphicFrameMkLst>
        </pc:graphicFrameChg>
        <pc:graphicFrameChg chg="mod modGraphic">
          <ac:chgData name="Justine Zayhowski" userId="2377d393-ab0f-4e66-8672-ed1beebcd407" providerId="ADAL" clId="{A7AA9292-A805-421F-B7FE-06835B8484B6}" dt="2021-01-13T14:31:38.425" v="24319" actId="207"/>
          <ac:graphicFrameMkLst>
            <pc:docMk/>
            <pc:sldMk cId="3173968709" sldId="1545"/>
            <ac:graphicFrameMk id="7" creationId="{39BAF4DC-224B-4183-9474-B7DD30F26D81}"/>
          </ac:graphicFrameMkLst>
        </pc:graphicFrameChg>
      </pc:sldChg>
      <pc:sldChg chg="addSp modSp new del mod">
        <pc:chgData name="Justine Zayhowski" userId="2377d393-ab0f-4e66-8672-ed1beebcd407" providerId="ADAL" clId="{A7AA9292-A805-421F-B7FE-06835B8484B6}" dt="2021-01-28T14:22:52.802" v="25630" actId="2696"/>
        <pc:sldMkLst>
          <pc:docMk/>
          <pc:sldMk cId="200381774" sldId="1546"/>
        </pc:sldMkLst>
        <pc:spChg chg="mod">
          <ac:chgData name="Justine Zayhowski" userId="2377d393-ab0f-4e66-8672-ed1beebcd407" providerId="ADAL" clId="{A7AA9292-A805-421F-B7FE-06835B8484B6}" dt="2020-12-18T17:04:48.174" v="8123" actId="14100"/>
          <ac:spMkLst>
            <pc:docMk/>
            <pc:sldMk cId="200381774" sldId="1546"/>
            <ac:spMk id="2" creationId="{655C42EE-6F76-468B-A508-0998A60E2F1E}"/>
          </ac:spMkLst>
        </pc:spChg>
        <pc:spChg chg="mod">
          <ac:chgData name="Justine Zayhowski" userId="2377d393-ab0f-4e66-8672-ed1beebcd407" providerId="ADAL" clId="{A7AA9292-A805-421F-B7FE-06835B8484B6}" dt="2021-01-06T14:27:52.350" v="19070" actId="20577"/>
          <ac:spMkLst>
            <pc:docMk/>
            <pc:sldMk cId="200381774" sldId="1546"/>
            <ac:spMk id="3" creationId="{4DC0CD9D-7438-4A3E-BFB9-4C46519AF2AA}"/>
          </ac:spMkLst>
        </pc:spChg>
        <pc:spChg chg="add mod">
          <ac:chgData name="Justine Zayhowski" userId="2377d393-ab0f-4e66-8672-ed1beebcd407" providerId="ADAL" clId="{A7AA9292-A805-421F-B7FE-06835B8484B6}" dt="2021-01-06T14:28:16.405" v="19080" actId="1036"/>
          <ac:spMkLst>
            <pc:docMk/>
            <pc:sldMk cId="200381774" sldId="1546"/>
            <ac:spMk id="5" creationId="{4D1EA680-054F-4F56-A428-1DDF818D71D0}"/>
          </ac:spMkLst>
        </pc:spChg>
        <pc:graphicFrameChg chg="add mod modGraphic">
          <ac:chgData name="Justine Zayhowski" userId="2377d393-ab0f-4e66-8672-ed1beebcd407" providerId="ADAL" clId="{A7AA9292-A805-421F-B7FE-06835B8484B6}" dt="2021-01-13T14:32:55.392" v="24348" actId="1036"/>
          <ac:graphicFrameMkLst>
            <pc:docMk/>
            <pc:sldMk cId="200381774" sldId="1546"/>
            <ac:graphicFrameMk id="4" creationId="{57CF0111-DA35-4281-8C9B-5775726E3ED5}"/>
          </ac:graphicFrameMkLst>
        </pc:graphicFrameChg>
        <pc:graphicFrameChg chg="mod modGraphic">
          <ac:chgData name="Justine Zayhowski" userId="2377d393-ab0f-4e66-8672-ed1beebcd407" providerId="ADAL" clId="{A7AA9292-A805-421F-B7FE-06835B8484B6}" dt="2021-01-13T14:32:55.392" v="24348" actId="1036"/>
          <ac:graphicFrameMkLst>
            <pc:docMk/>
            <pc:sldMk cId="200381774" sldId="1546"/>
            <ac:graphicFrameMk id="6" creationId="{6D7DFEB1-F445-4284-99EE-235777AA0C8A}"/>
          </ac:graphicFrameMkLst>
        </pc:graphicFrameChg>
      </pc:sldChg>
      <pc:sldChg chg="addSp modSp new del mod">
        <pc:chgData name="Justine Zayhowski" userId="2377d393-ab0f-4e66-8672-ed1beebcd407" providerId="ADAL" clId="{A7AA9292-A805-421F-B7FE-06835B8484B6}" dt="2021-01-28T14:22:52.802" v="25630" actId="2696"/>
        <pc:sldMkLst>
          <pc:docMk/>
          <pc:sldMk cId="2471568903" sldId="1547"/>
        </pc:sldMkLst>
        <pc:spChg chg="mod">
          <ac:chgData name="Justine Zayhowski" userId="2377d393-ab0f-4e66-8672-ed1beebcd407" providerId="ADAL" clId="{A7AA9292-A805-421F-B7FE-06835B8484B6}" dt="2020-12-18T17:11:18.165" v="8381" actId="20577"/>
          <ac:spMkLst>
            <pc:docMk/>
            <pc:sldMk cId="2471568903" sldId="1547"/>
            <ac:spMk id="2" creationId="{CA217E07-2775-40EB-AE24-F6F19F5CCC54}"/>
          </ac:spMkLst>
        </pc:spChg>
        <pc:spChg chg="mod">
          <ac:chgData name="Justine Zayhowski" userId="2377d393-ab0f-4e66-8672-ed1beebcd407" providerId="ADAL" clId="{A7AA9292-A805-421F-B7FE-06835B8484B6}" dt="2021-01-06T14:29:32.667" v="19114"/>
          <ac:spMkLst>
            <pc:docMk/>
            <pc:sldMk cId="2471568903" sldId="1547"/>
            <ac:spMk id="3" creationId="{35F68FCA-C563-406E-8DC0-D12EBABCEB43}"/>
          </ac:spMkLst>
        </pc:spChg>
        <pc:spChg chg="add mod">
          <ac:chgData name="Justine Zayhowski" userId="2377d393-ab0f-4e66-8672-ed1beebcd407" providerId="ADAL" clId="{A7AA9292-A805-421F-B7FE-06835B8484B6}" dt="2021-01-06T14:29:46.245" v="19140" actId="1036"/>
          <ac:spMkLst>
            <pc:docMk/>
            <pc:sldMk cId="2471568903" sldId="1547"/>
            <ac:spMk id="5" creationId="{ECF74BC5-E637-4B77-96B8-BFEAA3701BAA}"/>
          </ac:spMkLst>
        </pc:spChg>
        <pc:graphicFrameChg chg="add mod modGraphic">
          <ac:chgData name="Justine Zayhowski" userId="2377d393-ab0f-4e66-8672-ed1beebcd407" providerId="ADAL" clId="{A7AA9292-A805-421F-B7FE-06835B8484B6}" dt="2021-01-13T14:33:10.977" v="24375" actId="1036"/>
          <ac:graphicFrameMkLst>
            <pc:docMk/>
            <pc:sldMk cId="2471568903" sldId="1547"/>
            <ac:graphicFrameMk id="4" creationId="{B4BE7D98-6C4A-4E9C-BC04-CC4046BA999A}"/>
          </ac:graphicFrameMkLst>
        </pc:graphicFrameChg>
        <pc:graphicFrameChg chg="mod modGraphic">
          <ac:chgData name="Justine Zayhowski" userId="2377d393-ab0f-4e66-8672-ed1beebcd407" providerId="ADAL" clId="{A7AA9292-A805-421F-B7FE-06835B8484B6}" dt="2021-01-13T14:33:08.908" v="24359" actId="1036"/>
          <ac:graphicFrameMkLst>
            <pc:docMk/>
            <pc:sldMk cId="2471568903" sldId="1547"/>
            <ac:graphicFrameMk id="6" creationId="{84757D27-93B0-49E1-A595-08CA877806BB}"/>
          </ac:graphicFrameMkLst>
        </pc:graphicFrameChg>
      </pc:sldChg>
      <pc:sldChg chg="addSp delSp modSp new del mod delCm">
        <pc:chgData name="Justine Zayhowski" userId="2377d393-ab0f-4e66-8672-ed1beebcd407" providerId="ADAL" clId="{A7AA9292-A805-421F-B7FE-06835B8484B6}" dt="2021-01-28T14:22:52.802" v="25630" actId="2696"/>
        <pc:sldMkLst>
          <pc:docMk/>
          <pc:sldMk cId="1451882486" sldId="1548"/>
        </pc:sldMkLst>
        <pc:spChg chg="mod">
          <ac:chgData name="Justine Zayhowski" userId="2377d393-ab0f-4e66-8672-ed1beebcd407" providerId="ADAL" clId="{A7AA9292-A805-421F-B7FE-06835B8484B6}" dt="2020-12-18T17:44:28.560" v="8665" actId="20577"/>
          <ac:spMkLst>
            <pc:docMk/>
            <pc:sldMk cId="1451882486" sldId="1548"/>
            <ac:spMk id="2" creationId="{CE2F2E74-5215-4F3F-9A21-80EAF498512E}"/>
          </ac:spMkLst>
        </pc:spChg>
        <pc:spChg chg="mod">
          <ac:chgData name="Justine Zayhowski" userId="2377d393-ab0f-4e66-8672-ed1beebcd407" providerId="ADAL" clId="{A7AA9292-A805-421F-B7FE-06835B8484B6}" dt="2021-01-06T14:38:31.958" v="19176" actId="20577"/>
          <ac:spMkLst>
            <pc:docMk/>
            <pc:sldMk cId="1451882486" sldId="1548"/>
            <ac:spMk id="3" creationId="{36AB7E7D-D07D-4787-B754-898CFA0CF4E0}"/>
          </ac:spMkLst>
        </pc:spChg>
        <pc:spChg chg="add mod">
          <ac:chgData name="Justine Zayhowski" userId="2377d393-ab0f-4e66-8672-ed1beebcd407" providerId="ADAL" clId="{A7AA9292-A805-421F-B7FE-06835B8484B6}" dt="2021-01-06T14:39:20.822" v="19189" actId="1035"/>
          <ac:spMkLst>
            <pc:docMk/>
            <pc:sldMk cId="1451882486" sldId="1548"/>
            <ac:spMk id="5" creationId="{725D633B-162B-4790-923B-E2A6AFF23FB4}"/>
          </ac:spMkLst>
        </pc:spChg>
        <pc:spChg chg="del mod">
          <ac:chgData name="Justine Zayhowski" userId="2377d393-ab0f-4e66-8672-ed1beebcd407" providerId="ADAL" clId="{A7AA9292-A805-421F-B7FE-06835B8484B6}" dt="2020-12-29T20:38:56.626" v="17042" actId="478"/>
          <ac:spMkLst>
            <pc:docMk/>
            <pc:sldMk cId="1451882486" sldId="1548"/>
            <ac:spMk id="6" creationId="{B260BECF-3E2C-4338-A8DC-44AED0BE6A61}"/>
          </ac:spMkLst>
        </pc:spChg>
        <pc:graphicFrameChg chg="add mod modGraphic">
          <ac:chgData name="Justine Zayhowski" userId="2377d393-ab0f-4e66-8672-ed1beebcd407" providerId="ADAL" clId="{A7AA9292-A805-421F-B7FE-06835B8484B6}" dt="2021-01-06T14:39:19.646" v="19186" actId="1035"/>
          <ac:graphicFrameMkLst>
            <pc:docMk/>
            <pc:sldMk cId="1451882486" sldId="1548"/>
            <ac:graphicFrameMk id="4" creationId="{7D09E36F-77C8-456E-9949-639DBFBB69FA}"/>
          </ac:graphicFrameMkLst>
        </pc:graphicFrameChg>
        <pc:graphicFrameChg chg="mod modGraphic">
          <ac:chgData name="Justine Zayhowski" userId="2377d393-ab0f-4e66-8672-ed1beebcd407" providerId="ADAL" clId="{A7AA9292-A805-421F-B7FE-06835B8484B6}" dt="2021-01-13T14:36:38.509" v="24406" actId="113"/>
          <ac:graphicFrameMkLst>
            <pc:docMk/>
            <pc:sldMk cId="1451882486" sldId="1548"/>
            <ac:graphicFrameMk id="6" creationId="{23509208-85DA-43CA-A720-7F0C1313817D}"/>
          </ac:graphicFrameMkLst>
        </pc:graphicFrameChg>
      </pc:sldChg>
      <pc:sldChg chg="addSp delSp modSp new del mod">
        <pc:chgData name="Justine Zayhowski" userId="2377d393-ab0f-4e66-8672-ed1beebcd407" providerId="ADAL" clId="{A7AA9292-A805-421F-B7FE-06835B8484B6}" dt="2021-01-28T14:22:52.802" v="25630" actId="2696"/>
        <pc:sldMkLst>
          <pc:docMk/>
          <pc:sldMk cId="2986110700" sldId="1549"/>
        </pc:sldMkLst>
        <pc:spChg chg="mod">
          <ac:chgData name="Justine Zayhowski" userId="2377d393-ab0f-4e66-8672-ed1beebcd407" providerId="ADAL" clId="{A7AA9292-A805-421F-B7FE-06835B8484B6}" dt="2020-12-18T17:48:17.563" v="8772" actId="113"/>
          <ac:spMkLst>
            <pc:docMk/>
            <pc:sldMk cId="2986110700" sldId="1549"/>
            <ac:spMk id="2" creationId="{0DEC4E78-9643-49D9-9969-DB265DC72C4B}"/>
          </ac:spMkLst>
        </pc:spChg>
        <pc:spChg chg="mod">
          <ac:chgData name="Justine Zayhowski" userId="2377d393-ab0f-4e66-8672-ed1beebcd407" providerId="ADAL" clId="{A7AA9292-A805-421F-B7FE-06835B8484B6}" dt="2021-01-06T14:47:49.006" v="19364" actId="20577"/>
          <ac:spMkLst>
            <pc:docMk/>
            <pc:sldMk cId="2986110700" sldId="1549"/>
            <ac:spMk id="3" creationId="{DEF8C6E0-3892-4845-842F-4B8F6CCCAD02}"/>
          </ac:spMkLst>
        </pc:spChg>
        <pc:spChg chg="add del mod">
          <ac:chgData name="Justine Zayhowski" userId="2377d393-ab0f-4e66-8672-ed1beebcd407" providerId="ADAL" clId="{A7AA9292-A805-421F-B7FE-06835B8484B6}" dt="2020-12-18T20:58:35.188" v="9726" actId="478"/>
          <ac:spMkLst>
            <pc:docMk/>
            <pc:sldMk cId="2986110700" sldId="1549"/>
            <ac:spMk id="6" creationId="{97083051-D2F8-4A3D-B75F-844A04D93E0A}"/>
          </ac:spMkLst>
        </pc:spChg>
        <pc:spChg chg="add mod">
          <ac:chgData name="Justine Zayhowski" userId="2377d393-ab0f-4e66-8672-ed1beebcd407" providerId="ADAL" clId="{A7AA9292-A805-421F-B7FE-06835B8484B6}" dt="2021-01-06T14:47:51.157" v="19366"/>
          <ac:spMkLst>
            <pc:docMk/>
            <pc:sldMk cId="2986110700" sldId="1549"/>
            <ac:spMk id="7" creationId="{6C11DFCB-FCA9-4925-BC1F-23AD346E8CB1}"/>
          </ac:spMkLst>
        </pc:spChg>
        <pc:graphicFrameChg chg="add del mod">
          <ac:chgData name="Justine Zayhowski" userId="2377d393-ab0f-4e66-8672-ed1beebcd407" providerId="ADAL" clId="{A7AA9292-A805-421F-B7FE-06835B8484B6}" dt="2020-12-18T17:48:27.357" v="8777"/>
          <ac:graphicFrameMkLst>
            <pc:docMk/>
            <pc:sldMk cId="2986110700" sldId="1549"/>
            <ac:graphicFrameMk id="4" creationId="{0ACA565E-E9C3-4052-AF56-881F4ED8A28E}"/>
          </ac:graphicFrameMkLst>
        </pc:graphicFrameChg>
        <pc:graphicFrameChg chg="add mod modGraphic">
          <ac:chgData name="Justine Zayhowski" userId="2377d393-ab0f-4e66-8672-ed1beebcd407" providerId="ADAL" clId="{A7AA9292-A805-421F-B7FE-06835B8484B6}" dt="2021-01-13T14:36:58.777" v="24441" actId="1035"/>
          <ac:graphicFrameMkLst>
            <pc:docMk/>
            <pc:sldMk cId="2986110700" sldId="1549"/>
            <ac:graphicFrameMk id="5" creationId="{2479DF4A-AB7E-4682-8243-434E1AF8EFA0}"/>
          </ac:graphicFrameMkLst>
        </pc:graphicFrameChg>
        <pc:graphicFrameChg chg="mod modGraphic">
          <ac:chgData name="Justine Zayhowski" userId="2377d393-ab0f-4e66-8672-ed1beebcd407" providerId="ADAL" clId="{A7AA9292-A805-421F-B7FE-06835B8484B6}" dt="2021-01-13T14:36:55.811" v="24417" actId="1036"/>
          <ac:graphicFrameMkLst>
            <pc:docMk/>
            <pc:sldMk cId="2986110700" sldId="1549"/>
            <ac:graphicFrameMk id="6" creationId="{F85E9A17-63DC-4194-9790-87D5E485B69D}"/>
          </ac:graphicFrameMkLst>
        </pc:graphicFrameChg>
      </pc:sldChg>
      <pc:sldChg chg="addSp delSp modSp new del mod">
        <pc:chgData name="Justine Zayhowski" userId="2377d393-ab0f-4e66-8672-ed1beebcd407" providerId="ADAL" clId="{A7AA9292-A805-421F-B7FE-06835B8484B6}" dt="2021-01-28T14:22:52.802" v="25630" actId="2696"/>
        <pc:sldMkLst>
          <pc:docMk/>
          <pc:sldMk cId="4196504506" sldId="1550"/>
        </pc:sldMkLst>
        <pc:spChg chg="mod">
          <ac:chgData name="Justine Zayhowski" userId="2377d393-ab0f-4e66-8672-ed1beebcd407" providerId="ADAL" clId="{A7AA9292-A805-421F-B7FE-06835B8484B6}" dt="2020-12-18T18:12:53.029" v="9004" actId="20577"/>
          <ac:spMkLst>
            <pc:docMk/>
            <pc:sldMk cId="4196504506" sldId="1550"/>
            <ac:spMk id="2" creationId="{76CF9B82-16F5-45F8-B349-0DC24132941E}"/>
          </ac:spMkLst>
        </pc:spChg>
        <pc:spChg chg="add del mod">
          <ac:chgData name="Justine Zayhowski" userId="2377d393-ab0f-4e66-8672-ed1beebcd407" providerId="ADAL" clId="{A7AA9292-A805-421F-B7FE-06835B8484B6}" dt="2021-01-06T14:45:17.205" v="19335" actId="1035"/>
          <ac:spMkLst>
            <pc:docMk/>
            <pc:sldMk cId="4196504506" sldId="1550"/>
            <ac:spMk id="3" creationId="{CDD0AFB8-6795-4384-ACBC-6EEB61998ABF}"/>
          </ac:spMkLst>
        </pc:spChg>
        <pc:spChg chg="add mod">
          <ac:chgData name="Justine Zayhowski" userId="2377d393-ab0f-4e66-8672-ed1beebcd407" providerId="ADAL" clId="{A7AA9292-A805-421F-B7FE-06835B8484B6}" dt="2021-01-06T14:45:24.463" v="19351" actId="1036"/>
          <ac:spMkLst>
            <pc:docMk/>
            <pc:sldMk cId="4196504506" sldId="1550"/>
            <ac:spMk id="6" creationId="{4D4422F7-4FDE-4FFA-A88E-C4A9B612947C}"/>
          </ac:spMkLst>
        </pc:spChg>
        <pc:graphicFrameChg chg="add del mod">
          <ac:chgData name="Justine Zayhowski" userId="2377d393-ab0f-4e66-8672-ed1beebcd407" providerId="ADAL" clId="{A7AA9292-A805-421F-B7FE-06835B8484B6}" dt="2020-12-18T18:13:20.643" v="9006"/>
          <ac:graphicFrameMkLst>
            <pc:docMk/>
            <pc:sldMk cId="4196504506" sldId="1550"/>
            <ac:graphicFrameMk id="4" creationId="{6DAD30B6-D973-474B-8308-76CF29DD78EB}"/>
          </ac:graphicFrameMkLst>
        </pc:graphicFrameChg>
        <pc:graphicFrameChg chg="add mod modGraphic">
          <ac:chgData name="Justine Zayhowski" userId="2377d393-ab0f-4e66-8672-ed1beebcd407" providerId="ADAL" clId="{A7AA9292-A805-421F-B7FE-06835B8484B6}" dt="2021-01-13T14:37:25.807" v="24471" actId="1035"/>
          <ac:graphicFrameMkLst>
            <pc:docMk/>
            <pc:sldMk cId="4196504506" sldId="1550"/>
            <ac:graphicFrameMk id="5" creationId="{7BF7FAF3-8113-4262-951A-A5C74B852E83}"/>
          </ac:graphicFrameMkLst>
        </pc:graphicFrameChg>
        <pc:graphicFrameChg chg="mod modGraphic">
          <ac:chgData name="Justine Zayhowski" userId="2377d393-ab0f-4e66-8672-ed1beebcd407" providerId="ADAL" clId="{A7AA9292-A805-421F-B7FE-06835B8484B6}" dt="2021-01-13T14:37:21.975" v="24453" actId="1036"/>
          <ac:graphicFrameMkLst>
            <pc:docMk/>
            <pc:sldMk cId="4196504506" sldId="1550"/>
            <ac:graphicFrameMk id="7" creationId="{092C7952-3162-42B8-81B9-BC420A5ADBE9}"/>
          </ac:graphicFrameMkLst>
        </pc:graphicFrameChg>
      </pc:sldChg>
      <pc:sldChg chg="addSp modSp new del mod addCm delCm modCm">
        <pc:chgData name="Justine Zayhowski" userId="2377d393-ab0f-4e66-8672-ed1beebcd407" providerId="ADAL" clId="{A7AA9292-A805-421F-B7FE-06835B8484B6}" dt="2021-01-28T14:22:52.802" v="25630" actId="2696"/>
        <pc:sldMkLst>
          <pc:docMk/>
          <pc:sldMk cId="603129740" sldId="1551"/>
        </pc:sldMkLst>
        <pc:spChg chg="mod">
          <ac:chgData name="Justine Zayhowski" userId="2377d393-ab0f-4e66-8672-ed1beebcd407" providerId="ADAL" clId="{A7AA9292-A805-421F-B7FE-06835B8484B6}" dt="2020-12-18T18:24:29.913" v="9291" actId="20577"/>
          <ac:spMkLst>
            <pc:docMk/>
            <pc:sldMk cId="603129740" sldId="1551"/>
            <ac:spMk id="2" creationId="{7A25FE4F-42A7-4E11-8DD9-C8B132E2F2FB}"/>
          </ac:spMkLst>
        </pc:spChg>
        <pc:spChg chg="mod">
          <ac:chgData name="Justine Zayhowski" userId="2377d393-ab0f-4e66-8672-ed1beebcd407" providerId="ADAL" clId="{A7AA9292-A805-421F-B7FE-06835B8484B6}" dt="2021-01-07T13:42:17.286" v="20936" actId="20577"/>
          <ac:spMkLst>
            <pc:docMk/>
            <pc:sldMk cId="603129740" sldId="1551"/>
            <ac:spMk id="3" creationId="{6E0DBF35-739E-49F1-9AA6-E1429F90F301}"/>
          </ac:spMkLst>
        </pc:spChg>
        <pc:spChg chg="add mod">
          <ac:chgData name="Justine Zayhowski" userId="2377d393-ab0f-4e66-8672-ed1beebcd407" providerId="ADAL" clId="{A7AA9292-A805-421F-B7FE-06835B8484B6}" dt="2021-01-06T14:49:37.792" v="19392" actId="1036"/>
          <ac:spMkLst>
            <pc:docMk/>
            <pc:sldMk cId="603129740" sldId="1551"/>
            <ac:spMk id="5" creationId="{1BFCF6B2-1CFE-4426-89E8-09BC7923056C}"/>
          </ac:spMkLst>
        </pc:spChg>
        <pc:graphicFrameChg chg="add mod modGraphic">
          <ac:chgData name="Justine Zayhowski" userId="2377d393-ab0f-4e66-8672-ed1beebcd407" providerId="ADAL" clId="{A7AA9292-A805-421F-B7FE-06835B8484B6}" dt="2021-01-13T14:37:39.876" v="24510" actId="1036"/>
          <ac:graphicFrameMkLst>
            <pc:docMk/>
            <pc:sldMk cId="603129740" sldId="1551"/>
            <ac:graphicFrameMk id="4" creationId="{CD4ADA8E-B39D-409E-A228-820EC402CA21}"/>
          </ac:graphicFrameMkLst>
        </pc:graphicFrameChg>
        <pc:graphicFrameChg chg="mod modGraphic">
          <ac:chgData name="Justine Zayhowski" userId="2377d393-ab0f-4e66-8672-ed1beebcd407" providerId="ADAL" clId="{A7AA9292-A805-421F-B7FE-06835B8484B6}" dt="2021-01-13T14:37:36.984" v="24483" actId="1036"/>
          <ac:graphicFrameMkLst>
            <pc:docMk/>
            <pc:sldMk cId="603129740" sldId="1551"/>
            <ac:graphicFrameMk id="6" creationId="{DF9C304A-7691-496B-9165-76A9A826538D}"/>
          </ac:graphicFrameMkLst>
        </pc:graphicFrameChg>
      </pc:sldChg>
      <pc:sldChg chg="addSp modSp new del mod">
        <pc:chgData name="Justine Zayhowski" userId="2377d393-ab0f-4e66-8672-ed1beebcd407" providerId="ADAL" clId="{A7AA9292-A805-421F-B7FE-06835B8484B6}" dt="2021-01-28T14:22:52.802" v="25630" actId="2696"/>
        <pc:sldMkLst>
          <pc:docMk/>
          <pc:sldMk cId="3591097128" sldId="1552"/>
        </pc:sldMkLst>
        <pc:spChg chg="mod">
          <ac:chgData name="Justine Zayhowski" userId="2377d393-ab0f-4e66-8672-ed1beebcd407" providerId="ADAL" clId="{A7AA9292-A805-421F-B7FE-06835B8484B6}" dt="2020-12-18T18:32:02.971" v="9666" actId="20577"/>
          <ac:spMkLst>
            <pc:docMk/>
            <pc:sldMk cId="3591097128" sldId="1552"/>
            <ac:spMk id="2" creationId="{E8983C0F-6A80-42DC-AF7A-D8AF6B6AE509}"/>
          </ac:spMkLst>
        </pc:spChg>
        <pc:spChg chg="mod">
          <ac:chgData name="Justine Zayhowski" userId="2377d393-ab0f-4e66-8672-ed1beebcd407" providerId="ADAL" clId="{A7AA9292-A805-421F-B7FE-06835B8484B6}" dt="2021-01-06T14:51:26.205" v="19457" actId="1036"/>
          <ac:spMkLst>
            <pc:docMk/>
            <pc:sldMk cId="3591097128" sldId="1552"/>
            <ac:spMk id="3" creationId="{56500D71-7DDF-43A0-9BDB-49106371B3A5}"/>
          </ac:spMkLst>
        </pc:spChg>
        <pc:spChg chg="add mod">
          <ac:chgData name="Justine Zayhowski" userId="2377d393-ab0f-4e66-8672-ed1beebcd407" providerId="ADAL" clId="{A7AA9292-A805-421F-B7FE-06835B8484B6}" dt="2021-01-06T14:52:02.682" v="19466"/>
          <ac:spMkLst>
            <pc:docMk/>
            <pc:sldMk cId="3591097128" sldId="1552"/>
            <ac:spMk id="5" creationId="{9A83CB93-D097-4604-BF56-4275D277238B}"/>
          </ac:spMkLst>
        </pc:spChg>
        <pc:graphicFrameChg chg="add mod modGraphic">
          <ac:chgData name="Justine Zayhowski" userId="2377d393-ab0f-4e66-8672-ed1beebcd407" providerId="ADAL" clId="{A7AA9292-A805-421F-B7FE-06835B8484B6}" dt="2021-01-06T14:51:37.718" v="19462" actId="1035"/>
          <ac:graphicFrameMkLst>
            <pc:docMk/>
            <pc:sldMk cId="3591097128" sldId="1552"/>
            <ac:graphicFrameMk id="4" creationId="{D1D9CBCE-D60C-4BD2-829F-483AFD162729}"/>
          </ac:graphicFrameMkLst>
        </pc:graphicFrameChg>
        <pc:graphicFrameChg chg="modGraphic">
          <ac:chgData name="Justine Zayhowski" userId="2377d393-ab0f-4e66-8672-ed1beebcd407" providerId="ADAL" clId="{A7AA9292-A805-421F-B7FE-06835B8484B6}" dt="2021-01-13T14:38:06.282" v="24512" actId="14100"/>
          <ac:graphicFrameMkLst>
            <pc:docMk/>
            <pc:sldMk cId="3591097128" sldId="1552"/>
            <ac:graphicFrameMk id="6" creationId="{D8BFCCE4-9213-4FAA-9776-21C0BB5AAAF1}"/>
          </ac:graphicFrameMkLst>
        </pc:graphicFrameChg>
      </pc:sldChg>
      <pc:sldChg chg="addSp delSp modSp new del mod delCm modCm">
        <pc:chgData name="Justine Zayhowski" userId="2377d393-ab0f-4e66-8672-ed1beebcd407" providerId="ADAL" clId="{A7AA9292-A805-421F-B7FE-06835B8484B6}" dt="2021-01-28T14:22:52.802" v="25630" actId="2696"/>
        <pc:sldMkLst>
          <pc:docMk/>
          <pc:sldMk cId="2001774138" sldId="1553"/>
        </pc:sldMkLst>
        <pc:spChg chg="mod">
          <ac:chgData name="Justine Zayhowski" userId="2377d393-ab0f-4e66-8672-ed1beebcd407" providerId="ADAL" clId="{A7AA9292-A805-421F-B7FE-06835B8484B6}" dt="2020-12-21T15:39:59.872" v="10031" actId="20577"/>
          <ac:spMkLst>
            <pc:docMk/>
            <pc:sldMk cId="2001774138" sldId="1553"/>
            <ac:spMk id="2" creationId="{8D7B3BCC-3E31-42BA-8FA7-84A4364FA39B}"/>
          </ac:spMkLst>
        </pc:spChg>
        <pc:spChg chg="mod">
          <ac:chgData name="Justine Zayhowski" userId="2377d393-ab0f-4e66-8672-ed1beebcd407" providerId="ADAL" clId="{A7AA9292-A805-421F-B7FE-06835B8484B6}" dt="2020-12-30T18:13:08.104" v="17767" actId="1035"/>
          <ac:spMkLst>
            <pc:docMk/>
            <pc:sldMk cId="2001774138" sldId="1553"/>
            <ac:spMk id="3" creationId="{D497B01A-0F82-4597-8679-2FEF3C882560}"/>
          </ac:spMkLst>
        </pc:spChg>
        <pc:spChg chg="add del mod">
          <ac:chgData name="Justine Zayhowski" userId="2377d393-ab0f-4e66-8672-ed1beebcd407" providerId="ADAL" clId="{A7AA9292-A805-421F-B7FE-06835B8484B6}" dt="2021-01-07T13:42:36.157" v="20956" actId="478"/>
          <ac:spMkLst>
            <pc:docMk/>
            <pc:sldMk cId="2001774138" sldId="1553"/>
            <ac:spMk id="5" creationId="{473231D9-7D5D-478F-A396-C554CC31470E}"/>
          </ac:spMkLst>
        </pc:spChg>
        <pc:spChg chg="add del mod">
          <ac:chgData name="Justine Zayhowski" userId="2377d393-ab0f-4e66-8672-ed1beebcd407" providerId="ADAL" clId="{A7AA9292-A805-421F-B7FE-06835B8484B6}" dt="2020-12-30T18:12:58.520" v="17762" actId="478"/>
          <ac:spMkLst>
            <pc:docMk/>
            <pc:sldMk cId="2001774138" sldId="1553"/>
            <ac:spMk id="5" creationId="{8F95EFA2-8AA9-4949-A5DC-9690DC7B3927}"/>
          </ac:spMkLst>
        </pc:spChg>
        <pc:spChg chg="add mod">
          <ac:chgData name="Justine Zayhowski" userId="2377d393-ab0f-4e66-8672-ed1beebcd407" providerId="ADAL" clId="{A7AA9292-A805-421F-B7FE-06835B8484B6}" dt="2021-01-13T14:38:32.188" v="24564" actId="1036"/>
          <ac:spMkLst>
            <pc:docMk/>
            <pc:sldMk cId="2001774138" sldId="1553"/>
            <ac:spMk id="6" creationId="{E4F01662-D5F8-4635-B719-7DF00B07E483}"/>
          </ac:spMkLst>
        </pc:spChg>
        <pc:graphicFrameChg chg="add mod modGraphic">
          <ac:chgData name="Justine Zayhowski" userId="2377d393-ab0f-4e66-8672-ed1beebcd407" providerId="ADAL" clId="{A7AA9292-A805-421F-B7FE-06835B8484B6}" dt="2021-01-13T14:38:29.679" v="24555" actId="1036"/>
          <ac:graphicFrameMkLst>
            <pc:docMk/>
            <pc:sldMk cId="2001774138" sldId="1553"/>
            <ac:graphicFrameMk id="4" creationId="{6F75CA39-51EA-4502-A357-0B5F6B37C335}"/>
          </ac:graphicFrameMkLst>
        </pc:graphicFrameChg>
        <pc:graphicFrameChg chg="mod modGraphic">
          <ac:chgData name="Justine Zayhowski" userId="2377d393-ab0f-4e66-8672-ed1beebcd407" providerId="ADAL" clId="{A7AA9292-A805-421F-B7FE-06835B8484B6}" dt="2021-01-13T14:38:25.381" v="24525" actId="1036"/>
          <ac:graphicFrameMkLst>
            <pc:docMk/>
            <pc:sldMk cId="2001774138" sldId="1553"/>
            <ac:graphicFrameMk id="7" creationId="{5F96860B-3852-4630-909A-7172D05DE093}"/>
          </ac:graphicFrameMkLst>
        </pc:graphicFrameChg>
      </pc:sldChg>
      <pc:sldChg chg="addSp modSp new del mod">
        <pc:chgData name="Justine Zayhowski" userId="2377d393-ab0f-4e66-8672-ed1beebcd407" providerId="ADAL" clId="{A7AA9292-A805-421F-B7FE-06835B8484B6}" dt="2021-01-28T14:22:52.802" v="25630" actId="2696"/>
        <pc:sldMkLst>
          <pc:docMk/>
          <pc:sldMk cId="624541904" sldId="1554"/>
        </pc:sldMkLst>
        <pc:spChg chg="mod">
          <ac:chgData name="Justine Zayhowski" userId="2377d393-ab0f-4e66-8672-ed1beebcd407" providerId="ADAL" clId="{A7AA9292-A805-421F-B7FE-06835B8484B6}" dt="2020-12-21T15:41:41.216" v="10135" actId="14100"/>
          <ac:spMkLst>
            <pc:docMk/>
            <pc:sldMk cId="624541904" sldId="1554"/>
            <ac:spMk id="2" creationId="{6F917620-D1AC-4BA5-9C1D-A35F4FBAAB7C}"/>
          </ac:spMkLst>
        </pc:spChg>
        <pc:spChg chg="mod">
          <ac:chgData name="Justine Zayhowski" userId="2377d393-ab0f-4e66-8672-ed1beebcd407" providerId="ADAL" clId="{A7AA9292-A805-421F-B7FE-06835B8484B6}" dt="2021-01-06T15:07:39.297" v="20049" actId="1036"/>
          <ac:spMkLst>
            <pc:docMk/>
            <pc:sldMk cId="624541904" sldId="1554"/>
            <ac:spMk id="3" creationId="{E18F122F-BE4A-49D9-976A-F3668F7BA406}"/>
          </ac:spMkLst>
        </pc:spChg>
        <pc:spChg chg="add mod">
          <ac:chgData name="Justine Zayhowski" userId="2377d393-ab0f-4e66-8672-ed1beebcd407" providerId="ADAL" clId="{A7AA9292-A805-421F-B7FE-06835B8484B6}" dt="2021-01-06T15:07:20.276" v="20030"/>
          <ac:spMkLst>
            <pc:docMk/>
            <pc:sldMk cId="624541904" sldId="1554"/>
            <ac:spMk id="5" creationId="{B5322C5A-2298-4CB7-9BED-D94958C170EC}"/>
          </ac:spMkLst>
        </pc:spChg>
        <pc:graphicFrameChg chg="add mod modGraphic">
          <ac:chgData name="Justine Zayhowski" userId="2377d393-ab0f-4e66-8672-ed1beebcd407" providerId="ADAL" clId="{A7AA9292-A805-421F-B7FE-06835B8484B6}" dt="2021-01-13T14:38:55.750" v="24594" actId="1035"/>
          <ac:graphicFrameMkLst>
            <pc:docMk/>
            <pc:sldMk cId="624541904" sldId="1554"/>
            <ac:graphicFrameMk id="4" creationId="{61DA3BDF-0539-4D44-96DC-FA33840495F6}"/>
          </ac:graphicFrameMkLst>
        </pc:graphicFrameChg>
        <pc:graphicFrameChg chg="mod modGraphic">
          <ac:chgData name="Justine Zayhowski" userId="2377d393-ab0f-4e66-8672-ed1beebcd407" providerId="ADAL" clId="{A7AA9292-A805-421F-B7FE-06835B8484B6}" dt="2021-01-13T14:38:51.293" v="24576" actId="1036"/>
          <ac:graphicFrameMkLst>
            <pc:docMk/>
            <pc:sldMk cId="624541904" sldId="1554"/>
            <ac:graphicFrameMk id="6" creationId="{E80D8F46-43CE-43DB-A528-F2051C31863C}"/>
          </ac:graphicFrameMkLst>
        </pc:graphicFrameChg>
      </pc:sldChg>
      <pc:sldChg chg="addSp modSp new del mod">
        <pc:chgData name="Justine Zayhowski" userId="2377d393-ab0f-4e66-8672-ed1beebcd407" providerId="ADAL" clId="{A7AA9292-A805-421F-B7FE-06835B8484B6}" dt="2021-01-28T14:22:52.802" v="25630" actId="2696"/>
        <pc:sldMkLst>
          <pc:docMk/>
          <pc:sldMk cId="638657131" sldId="1555"/>
        </pc:sldMkLst>
        <pc:spChg chg="mod">
          <ac:chgData name="Justine Zayhowski" userId="2377d393-ab0f-4e66-8672-ed1beebcd407" providerId="ADAL" clId="{A7AA9292-A805-421F-B7FE-06835B8484B6}" dt="2020-12-21T16:09:08.456" v="10668" actId="14100"/>
          <ac:spMkLst>
            <pc:docMk/>
            <pc:sldMk cId="638657131" sldId="1555"/>
            <ac:spMk id="2" creationId="{CDEADE69-EBEF-4284-918A-77E2046E8BE6}"/>
          </ac:spMkLst>
        </pc:spChg>
        <pc:spChg chg="mod">
          <ac:chgData name="Justine Zayhowski" userId="2377d393-ab0f-4e66-8672-ed1beebcd407" providerId="ADAL" clId="{A7AA9292-A805-421F-B7FE-06835B8484B6}" dt="2021-01-06T15:09:43.215" v="20159" actId="1035"/>
          <ac:spMkLst>
            <pc:docMk/>
            <pc:sldMk cId="638657131" sldId="1555"/>
            <ac:spMk id="3" creationId="{E4467AED-E78C-4634-8645-D56FD55DC8B0}"/>
          </ac:spMkLst>
        </pc:spChg>
        <pc:spChg chg="add mod">
          <ac:chgData name="Justine Zayhowski" userId="2377d393-ab0f-4e66-8672-ed1beebcd407" providerId="ADAL" clId="{A7AA9292-A805-421F-B7FE-06835B8484B6}" dt="2021-01-06T15:09:54.003" v="20170"/>
          <ac:spMkLst>
            <pc:docMk/>
            <pc:sldMk cId="638657131" sldId="1555"/>
            <ac:spMk id="5" creationId="{270C8C4C-17E1-47C1-8D5E-218FAD7FB993}"/>
          </ac:spMkLst>
        </pc:spChg>
        <pc:graphicFrameChg chg="add mod modGraphic">
          <ac:chgData name="Justine Zayhowski" userId="2377d393-ab0f-4e66-8672-ed1beebcd407" providerId="ADAL" clId="{A7AA9292-A805-421F-B7FE-06835B8484B6}" dt="2021-01-13T14:39:18.013" v="24643" actId="1036"/>
          <ac:graphicFrameMkLst>
            <pc:docMk/>
            <pc:sldMk cId="638657131" sldId="1555"/>
            <ac:graphicFrameMk id="4" creationId="{5AAFDEE7-0136-4903-BE3C-6D3815F2F01D}"/>
          </ac:graphicFrameMkLst>
        </pc:graphicFrameChg>
        <pc:graphicFrameChg chg="mod modGraphic">
          <ac:chgData name="Justine Zayhowski" userId="2377d393-ab0f-4e66-8672-ed1beebcd407" providerId="ADAL" clId="{A7AA9292-A805-421F-B7FE-06835B8484B6}" dt="2021-01-13T14:39:13.898" v="24614" actId="1035"/>
          <ac:graphicFrameMkLst>
            <pc:docMk/>
            <pc:sldMk cId="638657131" sldId="1555"/>
            <ac:graphicFrameMk id="6" creationId="{CAB99820-C1FC-4996-BDA0-07B2C2B12D09}"/>
          </ac:graphicFrameMkLst>
        </pc:graphicFrameChg>
      </pc:sldChg>
      <pc:sldChg chg="addSp modSp new del mod delCm">
        <pc:chgData name="Justine Zayhowski" userId="2377d393-ab0f-4e66-8672-ed1beebcd407" providerId="ADAL" clId="{A7AA9292-A805-421F-B7FE-06835B8484B6}" dt="2021-01-28T14:22:52.802" v="25630" actId="2696"/>
        <pc:sldMkLst>
          <pc:docMk/>
          <pc:sldMk cId="1604107411" sldId="1556"/>
        </pc:sldMkLst>
        <pc:spChg chg="mod">
          <ac:chgData name="Justine Zayhowski" userId="2377d393-ab0f-4e66-8672-ed1beebcd407" providerId="ADAL" clId="{A7AA9292-A805-421F-B7FE-06835B8484B6}" dt="2020-12-21T16:12:36.947" v="10866" actId="20577"/>
          <ac:spMkLst>
            <pc:docMk/>
            <pc:sldMk cId="1604107411" sldId="1556"/>
            <ac:spMk id="2" creationId="{5803FFF0-554B-4DBF-B80B-A307025DB3F9}"/>
          </ac:spMkLst>
        </pc:spChg>
        <pc:spChg chg="mod">
          <ac:chgData name="Justine Zayhowski" userId="2377d393-ab0f-4e66-8672-ed1beebcd407" providerId="ADAL" clId="{A7AA9292-A805-421F-B7FE-06835B8484B6}" dt="2021-01-13T14:39:37.056" v="24646" actId="20577"/>
          <ac:spMkLst>
            <pc:docMk/>
            <pc:sldMk cId="1604107411" sldId="1556"/>
            <ac:spMk id="3" creationId="{F4D22CA9-4571-4B9A-89DA-111BBA95E31C}"/>
          </ac:spMkLst>
        </pc:spChg>
        <pc:graphicFrameChg chg="add mod modGraphic">
          <ac:chgData name="Justine Zayhowski" userId="2377d393-ab0f-4e66-8672-ed1beebcd407" providerId="ADAL" clId="{A7AA9292-A805-421F-B7FE-06835B8484B6}" dt="2021-01-06T15:10:50.799" v="20179" actId="1076"/>
          <ac:graphicFrameMkLst>
            <pc:docMk/>
            <pc:sldMk cId="1604107411" sldId="1556"/>
            <ac:graphicFrameMk id="4" creationId="{8E57F77A-2FB3-474B-BC1A-15F2CE39B360}"/>
          </ac:graphicFrameMkLst>
        </pc:graphicFrameChg>
      </pc:sldChg>
      <pc:sldChg chg="addSp delSp modSp new del mod addCm delCm modCm">
        <pc:chgData name="Justine Zayhowski" userId="2377d393-ab0f-4e66-8672-ed1beebcd407" providerId="ADAL" clId="{A7AA9292-A805-421F-B7FE-06835B8484B6}" dt="2021-01-28T14:22:52.802" v="25630" actId="2696"/>
        <pc:sldMkLst>
          <pc:docMk/>
          <pc:sldMk cId="1559749281" sldId="1557"/>
        </pc:sldMkLst>
        <pc:spChg chg="mod">
          <ac:chgData name="Justine Zayhowski" userId="2377d393-ab0f-4e66-8672-ed1beebcd407" providerId="ADAL" clId="{A7AA9292-A805-421F-B7FE-06835B8484B6}" dt="2020-12-21T16:16:04.533" v="10936" actId="20577"/>
          <ac:spMkLst>
            <pc:docMk/>
            <pc:sldMk cId="1559749281" sldId="1557"/>
            <ac:spMk id="2" creationId="{C7EAF7ED-3F9D-4D9A-B6B8-CAFEB2EADCCF}"/>
          </ac:spMkLst>
        </pc:spChg>
        <pc:spChg chg="mod">
          <ac:chgData name="Justine Zayhowski" userId="2377d393-ab0f-4e66-8672-ed1beebcd407" providerId="ADAL" clId="{A7AA9292-A805-421F-B7FE-06835B8484B6}" dt="2020-12-21T16:18:10.987" v="10996" actId="113"/>
          <ac:spMkLst>
            <pc:docMk/>
            <pc:sldMk cId="1559749281" sldId="1557"/>
            <ac:spMk id="3" creationId="{8F09C89A-1973-4EB4-AB37-BD013019C0E4}"/>
          </ac:spMkLst>
        </pc:spChg>
        <pc:spChg chg="add del mod">
          <ac:chgData name="Justine Zayhowski" userId="2377d393-ab0f-4e66-8672-ed1beebcd407" providerId="ADAL" clId="{A7AA9292-A805-421F-B7FE-06835B8484B6}" dt="2021-01-13T14:39:47.662" v="24647" actId="478"/>
          <ac:spMkLst>
            <pc:docMk/>
            <pc:sldMk cId="1559749281" sldId="1557"/>
            <ac:spMk id="5" creationId="{FDC55CE7-83E8-45E8-869A-4DDA3816B750}"/>
          </ac:spMkLst>
        </pc:spChg>
        <pc:spChg chg="add del mod">
          <ac:chgData name="Justine Zayhowski" userId="2377d393-ab0f-4e66-8672-ed1beebcd407" providerId="ADAL" clId="{A7AA9292-A805-421F-B7FE-06835B8484B6}" dt="2021-01-07T13:43:10.805" v="20957" actId="478"/>
          <ac:spMkLst>
            <pc:docMk/>
            <pc:sldMk cId="1559749281" sldId="1557"/>
            <ac:spMk id="6" creationId="{274452AC-BA63-45BA-A1CC-F80D6C546769}"/>
          </ac:spMkLst>
        </pc:spChg>
        <pc:spChg chg="mod">
          <ac:chgData name="Justine Zayhowski" userId="2377d393-ab0f-4e66-8672-ed1beebcd407" providerId="ADAL" clId="{A7AA9292-A805-421F-B7FE-06835B8484B6}" dt="2021-01-13T14:40:01.685" v="24651" actId="14100"/>
          <ac:spMkLst>
            <pc:docMk/>
            <pc:sldMk cId="1559749281" sldId="1557"/>
            <ac:spMk id="8" creationId="{E3AD9C5B-785E-4C6D-ACC5-DB0B98984B40}"/>
          </ac:spMkLst>
        </pc:spChg>
        <pc:graphicFrameChg chg="add mod modGraphic">
          <ac:chgData name="Justine Zayhowski" userId="2377d393-ab0f-4e66-8672-ed1beebcd407" providerId="ADAL" clId="{A7AA9292-A805-421F-B7FE-06835B8484B6}" dt="2021-01-13T14:40:04.767" v="24663" actId="1035"/>
          <ac:graphicFrameMkLst>
            <pc:docMk/>
            <pc:sldMk cId="1559749281" sldId="1557"/>
            <ac:graphicFrameMk id="4" creationId="{02536408-6065-4F89-A17A-085267193A30}"/>
          </ac:graphicFrameMkLst>
        </pc:graphicFrameChg>
      </pc:sldChg>
      <pc:sldChg chg="addSp delSp modSp new del mod">
        <pc:chgData name="Justine Zayhowski" userId="2377d393-ab0f-4e66-8672-ed1beebcd407" providerId="ADAL" clId="{A7AA9292-A805-421F-B7FE-06835B8484B6}" dt="2021-01-28T14:22:52.802" v="25630" actId="2696"/>
        <pc:sldMkLst>
          <pc:docMk/>
          <pc:sldMk cId="3734404091" sldId="1558"/>
        </pc:sldMkLst>
        <pc:spChg chg="mod">
          <ac:chgData name="Justine Zayhowski" userId="2377d393-ab0f-4e66-8672-ed1beebcd407" providerId="ADAL" clId="{A7AA9292-A805-421F-B7FE-06835B8484B6}" dt="2020-12-21T16:19:02.217" v="11016" actId="20577"/>
          <ac:spMkLst>
            <pc:docMk/>
            <pc:sldMk cId="3734404091" sldId="1558"/>
            <ac:spMk id="2" creationId="{60C7764C-A597-4576-899A-ADB7DDEA7BF6}"/>
          </ac:spMkLst>
        </pc:spChg>
        <pc:spChg chg="mod">
          <ac:chgData name="Justine Zayhowski" userId="2377d393-ab0f-4e66-8672-ed1beebcd407" providerId="ADAL" clId="{A7AA9292-A805-421F-B7FE-06835B8484B6}" dt="2021-01-13T14:40:07.739" v="24664" actId="20577"/>
          <ac:spMkLst>
            <pc:docMk/>
            <pc:sldMk cId="3734404091" sldId="1558"/>
            <ac:spMk id="3" creationId="{C6048145-3449-4C9F-BE72-E9B32885127C}"/>
          </ac:spMkLst>
        </pc:spChg>
        <pc:spChg chg="add del mod">
          <ac:chgData name="Justine Zayhowski" userId="2377d393-ab0f-4e66-8672-ed1beebcd407" providerId="ADAL" clId="{A7AA9292-A805-421F-B7FE-06835B8484B6}" dt="2021-01-07T13:43:13.421" v="20958" actId="478"/>
          <ac:spMkLst>
            <pc:docMk/>
            <pc:sldMk cId="3734404091" sldId="1558"/>
            <ac:spMk id="5" creationId="{397C606E-5914-44B6-B824-605227ABE6D6}"/>
          </ac:spMkLst>
        </pc:spChg>
        <pc:graphicFrameChg chg="add mod modGraphic">
          <ac:chgData name="Justine Zayhowski" userId="2377d393-ab0f-4e66-8672-ed1beebcd407" providerId="ADAL" clId="{A7AA9292-A805-421F-B7FE-06835B8484B6}" dt="2021-01-13T14:40:11.609" v="24690" actId="1035"/>
          <ac:graphicFrameMkLst>
            <pc:docMk/>
            <pc:sldMk cId="3734404091" sldId="1558"/>
            <ac:graphicFrameMk id="4" creationId="{BB9604F7-FACF-455A-91B5-589A40818C5A}"/>
          </ac:graphicFrameMkLst>
        </pc:graphicFrameChg>
      </pc:sldChg>
      <pc:sldChg chg="addSp delSp modSp new del mod delCm">
        <pc:chgData name="Justine Zayhowski" userId="2377d393-ab0f-4e66-8672-ed1beebcd407" providerId="ADAL" clId="{A7AA9292-A805-421F-B7FE-06835B8484B6}" dt="2021-01-28T14:22:52.802" v="25630" actId="2696"/>
        <pc:sldMkLst>
          <pc:docMk/>
          <pc:sldMk cId="3458141779" sldId="1559"/>
        </pc:sldMkLst>
        <pc:spChg chg="mod">
          <ac:chgData name="Justine Zayhowski" userId="2377d393-ab0f-4e66-8672-ed1beebcd407" providerId="ADAL" clId="{A7AA9292-A805-421F-B7FE-06835B8484B6}" dt="2020-12-21T16:32:18.107" v="11145" actId="20577"/>
          <ac:spMkLst>
            <pc:docMk/>
            <pc:sldMk cId="3458141779" sldId="1559"/>
            <ac:spMk id="2" creationId="{92C2C572-70E0-4150-AB59-0F1B22A80A27}"/>
          </ac:spMkLst>
        </pc:spChg>
        <pc:spChg chg="add del mod">
          <ac:chgData name="Justine Zayhowski" userId="2377d393-ab0f-4e66-8672-ed1beebcd407" providerId="ADAL" clId="{A7AA9292-A805-421F-B7FE-06835B8484B6}" dt="2021-01-13T14:52:30.222" v="25008" actId="478"/>
          <ac:spMkLst>
            <pc:docMk/>
            <pc:sldMk cId="3458141779" sldId="1559"/>
            <ac:spMk id="3" creationId="{84864C55-9CE0-4732-BC54-2A928357C15C}"/>
          </ac:spMkLst>
        </pc:spChg>
        <pc:spChg chg="mod">
          <ac:chgData name="Justine Zayhowski" userId="2377d393-ab0f-4e66-8672-ed1beebcd407" providerId="ADAL" clId="{A7AA9292-A805-421F-B7FE-06835B8484B6}" dt="2021-01-06T15:30:58.400" v="20334" actId="1076"/>
          <ac:spMkLst>
            <pc:docMk/>
            <pc:sldMk cId="3458141779" sldId="1559"/>
            <ac:spMk id="3" creationId="{B1F87A56-3285-480B-BDDF-91B814DF3C0E}"/>
          </ac:spMkLst>
        </pc:spChg>
        <pc:spChg chg="add del mod">
          <ac:chgData name="Justine Zayhowski" userId="2377d393-ab0f-4e66-8672-ed1beebcd407" providerId="ADAL" clId="{A7AA9292-A805-421F-B7FE-06835B8484B6}" dt="2020-12-21T16:54:56.692" v="11449" actId="478"/>
          <ac:spMkLst>
            <pc:docMk/>
            <pc:sldMk cId="3458141779" sldId="1559"/>
            <ac:spMk id="5" creationId="{CE07E3D2-34F8-4467-8699-E92BA1466B06}"/>
          </ac:spMkLst>
        </pc:spChg>
        <pc:spChg chg="add mod">
          <ac:chgData name="Justine Zayhowski" userId="2377d393-ab0f-4e66-8672-ed1beebcd407" providerId="ADAL" clId="{A7AA9292-A805-421F-B7FE-06835B8484B6}" dt="2021-01-06T15:31:32.903" v="20347" actId="1036"/>
          <ac:spMkLst>
            <pc:docMk/>
            <pc:sldMk cId="3458141779" sldId="1559"/>
            <ac:spMk id="6" creationId="{8993D53C-819E-4CB9-98A8-41A818536FBE}"/>
          </ac:spMkLst>
        </pc:spChg>
        <pc:graphicFrameChg chg="add mod modGraphic">
          <ac:chgData name="Justine Zayhowski" userId="2377d393-ab0f-4e66-8672-ed1beebcd407" providerId="ADAL" clId="{A7AA9292-A805-421F-B7FE-06835B8484B6}" dt="2021-01-13T14:53:20.895" v="25042" actId="14100"/>
          <ac:graphicFrameMkLst>
            <pc:docMk/>
            <pc:sldMk cId="3458141779" sldId="1559"/>
            <ac:graphicFrameMk id="4" creationId="{53CE6FFE-FB19-4DD7-B932-229FD7FEDB6A}"/>
          </ac:graphicFrameMkLst>
        </pc:graphicFrameChg>
        <pc:graphicFrameChg chg="mod modGraphic">
          <ac:chgData name="Justine Zayhowski" userId="2377d393-ab0f-4e66-8672-ed1beebcd407" providerId="ADAL" clId="{A7AA9292-A805-421F-B7FE-06835B8484B6}" dt="2021-01-13T14:53:18.325" v="25041" actId="1035"/>
          <ac:graphicFrameMkLst>
            <pc:docMk/>
            <pc:sldMk cId="3458141779" sldId="1559"/>
            <ac:graphicFrameMk id="7" creationId="{E2B1A5E9-849D-4E57-ABDB-A33E59E7EAD4}"/>
          </ac:graphicFrameMkLst>
        </pc:graphicFrameChg>
      </pc:sldChg>
      <pc:sldChg chg="addSp delSp modSp new del mod addCm delCm">
        <pc:chgData name="Justine Zayhowski" userId="2377d393-ab0f-4e66-8672-ed1beebcd407" providerId="ADAL" clId="{A7AA9292-A805-421F-B7FE-06835B8484B6}" dt="2021-01-28T14:22:52.802" v="25630" actId="2696"/>
        <pc:sldMkLst>
          <pc:docMk/>
          <pc:sldMk cId="1029816514" sldId="1560"/>
        </pc:sldMkLst>
        <pc:spChg chg="mod">
          <ac:chgData name="Justine Zayhowski" userId="2377d393-ab0f-4e66-8672-ed1beebcd407" providerId="ADAL" clId="{A7AA9292-A805-421F-B7FE-06835B8484B6}" dt="2020-12-21T16:55:16.468" v="11468" actId="20577"/>
          <ac:spMkLst>
            <pc:docMk/>
            <pc:sldMk cId="1029816514" sldId="1560"/>
            <ac:spMk id="2" creationId="{E5C392AF-FB61-4E02-8F5A-F5F969003BB7}"/>
          </ac:spMkLst>
        </pc:spChg>
        <pc:spChg chg="mod">
          <ac:chgData name="Justine Zayhowski" userId="2377d393-ab0f-4e66-8672-ed1beebcd407" providerId="ADAL" clId="{A7AA9292-A805-421F-B7FE-06835B8484B6}" dt="2021-01-06T15:33:44.911" v="20389" actId="313"/>
          <ac:spMkLst>
            <pc:docMk/>
            <pc:sldMk cId="1029816514" sldId="1560"/>
            <ac:spMk id="3" creationId="{8542BB72-165F-4654-BAE1-53456FF0020F}"/>
          </ac:spMkLst>
        </pc:spChg>
        <pc:spChg chg="add mod">
          <ac:chgData name="Justine Zayhowski" userId="2377d393-ab0f-4e66-8672-ed1beebcd407" providerId="ADAL" clId="{A7AA9292-A805-421F-B7FE-06835B8484B6}" dt="2021-01-06T15:33:35.258" v="20368" actId="1036"/>
          <ac:spMkLst>
            <pc:docMk/>
            <pc:sldMk cId="1029816514" sldId="1560"/>
            <ac:spMk id="5" creationId="{F813F9B4-8FDB-4A4F-AE9D-C7C2D1E01383}"/>
          </ac:spMkLst>
        </pc:spChg>
        <pc:spChg chg="add del mod">
          <ac:chgData name="Justine Zayhowski" userId="2377d393-ab0f-4e66-8672-ed1beebcd407" providerId="ADAL" clId="{A7AA9292-A805-421F-B7FE-06835B8484B6}" dt="2021-01-06T15:34:38.937" v="20390" actId="478"/>
          <ac:spMkLst>
            <pc:docMk/>
            <pc:sldMk cId="1029816514" sldId="1560"/>
            <ac:spMk id="6" creationId="{CC85EAA6-AB61-49F7-BB37-4B1DD1EB75D6}"/>
          </ac:spMkLst>
        </pc:spChg>
        <pc:graphicFrameChg chg="add mod modGraphic">
          <ac:chgData name="Justine Zayhowski" userId="2377d393-ab0f-4e66-8672-ed1beebcd407" providerId="ADAL" clId="{A7AA9292-A805-421F-B7FE-06835B8484B6}" dt="2021-01-13T14:53:33.244" v="25068" actId="1035"/>
          <ac:graphicFrameMkLst>
            <pc:docMk/>
            <pc:sldMk cId="1029816514" sldId="1560"/>
            <ac:graphicFrameMk id="4" creationId="{888A20E8-5A16-48A7-993D-5DDB8B1F1B7F}"/>
          </ac:graphicFrameMkLst>
        </pc:graphicFrameChg>
        <pc:graphicFrameChg chg="mod modGraphic">
          <ac:chgData name="Justine Zayhowski" userId="2377d393-ab0f-4e66-8672-ed1beebcd407" providerId="ADAL" clId="{A7AA9292-A805-421F-B7FE-06835B8484B6}" dt="2021-01-13T14:53:30.267" v="25045" actId="14100"/>
          <ac:graphicFrameMkLst>
            <pc:docMk/>
            <pc:sldMk cId="1029816514" sldId="1560"/>
            <ac:graphicFrameMk id="6" creationId="{678FD964-803E-4113-8D5E-7B81B4EF9FCA}"/>
          </ac:graphicFrameMkLst>
        </pc:graphicFrameChg>
      </pc:sldChg>
      <pc:sldChg chg="addSp modSp new del mod addCm delCm modCm">
        <pc:chgData name="Justine Zayhowski" userId="2377d393-ab0f-4e66-8672-ed1beebcd407" providerId="ADAL" clId="{A7AA9292-A805-421F-B7FE-06835B8484B6}" dt="2021-01-28T14:22:52.802" v="25630" actId="2696"/>
        <pc:sldMkLst>
          <pc:docMk/>
          <pc:sldMk cId="3898553200" sldId="1561"/>
        </pc:sldMkLst>
        <pc:spChg chg="mod">
          <ac:chgData name="Justine Zayhowski" userId="2377d393-ab0f-4e66-8672-ed1beebcd407" providerId="ADAL" clId="{A7AA9292-A805-421F-B7FE-06835B8484B6}" dt="2020-12-21T17:00:00.091" v="11631" actId="20577"/>
          <ac:spMkLst>
            <pc:docMk/>
            <pc:sldMk cId="3898553200" sldId="1561"/>
            <ac:spMk id="2" creationId="{CF5FA536-6750-48CC-86A3-2943AF92C7FC}"/>
          </ac:spMkLst>
        </pc:spChg>
        <pc:spChg chg="mod">
          <ac:chgData name="Justine Zayhowski" userId="2377d393-ab0f-4e66-8672-ed1beebcd407" providerId="ADAL" clId="{A7AA9292-A805-421F-B7FE-06835B8484B6}" dt="2021-01-06T15:37:39.070" v="20416" actId="20577"/>
          <ac:spMkLst>
            <pc:docMk/>
            <pc:sldMk cId="3898553200" sldId="1561"/>
            <ac:spMk id="3" creationId="{7F1AD638-E3A5-4B16-89B0-224512DE9C97}"/>
          </ac:spMkLst>
        </pc:spChg>
        <pc:spChg chg="add mod">
          <ac:chgData name="Justine Zayhowski" userId="2377d393-ab0f-4e66-8672-ed1beebcd407" providerId="ADAL" clId="{A7AA9292-A805-421F-B7FE-06835B8484B6}" dt="2021-01-06T15:38:15.224" v="20423" actId="255"/>
          <ac:spMkLst>
            <pc:docMk/>
            <pc:sldMk cId="3898553200" sldId="1561"/>
            <ac:spMk id="5" creationId="{89D64620-F06C-402B-B546-DDB37B0A3A4D}"/>
          </ac:spMkLst>
        </pc:spChg>
        <pc:graphicFrameChg chg="add mod modGraphic">
          <ac:chgData name="Justine Zayhowski" userId="2377d393-ab0f-4e66-8672-ed1beebcd407" providerId="ADAL" clId="{A7AA9292-A805-421F-B7FE-06835B8484B6}" dt="2021-01-13T14:53:45.041" v="25093" actId="1035"/>
          <ac:graphicFrameMkLst>
            <pc:docMk/>
            <pc:sldMk cId="3898553200" sldId="1561"/>
            <ac:graphicFrameMk id="4" creationId="{EB50415A-2F01-42DD-A9F1-F7849963CB18}"/>
          </ac:graphicFrameMkLst>
        </pc:graphicFrameChg>
        <pc:graphicFrameChg chg="mod modGraphic">
          <ac:chgData name="Justine Zayhowski" userId="2377d393-ab0f-4e66-8672-ed1beebcd407" providerId="ADAL" clId="{A7AA9292-A805-421F-B7FE-06835B8484B6}" dt="2021-01-13T14:53:43.435" v="25079" actId="1036"/>
          <ac:graphicFrameMkLst>
            <pc:docMk/>
            <pc:sldMk cId="3898553200" sldId="1561"/>
            <ac:graphicFrameMk id="6" creationId="{A889A824-9B61-4898-B61A-F9CD5BB31B01}"/>
          </ac:graphicFrameMkLst>
        </pc:graphicFrameChg>
      </pc:sldChg>
      <pc:sldChg chg="addSp delSp modSp new del mod addCm delCm">
        <pc:chgData name="Justine Zayhowski" userId="2377d393-ab0f-4e66-8672-ed1beebcd407" providerId="ADAL" clId="{A7AA9292-A805-421F-B7FE-06835B8484B6}" dt="2021-01-28T14:22:52.802" v="25630" actId="2696"/>
        <pc:sldMkLst>
          <pc:docMk/>
          <pc:sldMk cId="827770974" sldId="1562"/>
        </pc:sldMkLst>
        <pc:spChg chg="mod">
          <ac:chgData name="Justine Zayhowski" userId="2377d393-ab0f-4e66-8672-ed1beebcd407" providerId="ADAL" clId="{A7AA9292-A805-421F-B7FE-06835B8484B6}" dt="2020-12-21T17:10:00.493" v="11755" actId="14100"/>
          <ac:spMkLst>
            <pc:docMk/>
            <pc:sldMk cId="827770974" sldId="1562"/>
            <ac:spMk id="2" creationId="{25C08F6A-A1B1-404B-9647-3CFD0E54968E}"/>
          </ac:spMkLst>
        </pc:spChg>
        <pc:spChg chg="mod">
          <ac:chgData name="Justine Zayhowski" userId="2377d393-ab0f-4e66-8672-ed1beebcd407" providerId="ADAL" clId="{A7AA9292-A805-421F-B7FE-06835B8484B6}" dt="2021-01-06T15:42:18.061" v="20513" actId="20577"/>
          <ac:spMkLst>
            <pc:docMk/>
            <pc:sldMk cId="827770974" sldId="1562"/>
            <ac:spMk id="3" creationId="{233E5769-1521-4683-8C73-366E7264BFF1}"/>
          </ac:spMkLst>
        </pc:spChg>
        <pc:spChg chg="add mod">
          <ac:chgData name="Justine Zayhowski" userId="2377d393-ab0f-4e66-8672-ed1beebcd407" providerId="ADAL" clId="{A7AA9292-A805-421F-B7FE-06835B8484B6}" dt="2021-01-06T15:42:03.607" v="20487" actId="1035"/>
          <ac:spMkLst>
            <pc:docMk/>
            <pc:sldMk cId="827770974" sldId="1562"/>
            <ac:spMk id="5" creationId="{5861E71E-0DD8-4FA0-BDB4-F9B8C68E0A9E}"/>
          </ac:spMkLst>
        </pc:spChg>
        <pc:spChg chg="add del mod">
          <ac:chgData name="Justine Zayhowski" userId="2377d393-ab0f-4e66-8672-ed1beebcd407" providerId="ADAL" clId="{A7AA9292-A805-421F-B7FE-06835B8484B6}" dt="2021-01-06T15:40:14.744" v="20430" actId="478"/>
          <ac:spMkLst>
            <pc:docMk/>
            <pc:sldMk cId="827770974" sldId="1562"/>
            <ac:spMk id="6" creationId="{0046E25C-0C70-402E-BC63-CC17F660E7F1}"/>
          </ac:spMkLst>
        </pc:spChg>
        <pc:graphicFrameChg chg="add mod modGraphic">
          <ac:chgData name="Justine Zayhowski" userId="2377d393-ab0f-4e66-8672-ed1beebcd407" providerId="ADAL" clId="{A7AA9292-A805-421F-B7FE-06835B8484B6}" dt="2021-01-13T14:53:53.050" v="25102" actId="1035"/>
          <ac:graphicFrameMkLst>
            <pc:docMk/>
            <pc:sldMk cId="827770974" sldId="1562"/>
            <ac:graphicFrameMk id="4" creationId="{90AFF0BF-F089-4EBE-A7EA-06D72A80AE11}"/>
          </ac:graphicFrameMkLst>
        </pc:graphicFrameChg>
        <pc:graphicFrameChg chg="mod modGraphic">
          <ac:chgData name="Justine Zayhowski" userId="2377d393-ab0f-4e66-8672-ed1beebcd407" providerId="ADAL" clId="{A7AA9292-A805-421F-B7FE-06835B8484B6}" dt="2021-01-13T14:53:51.156" v="25096" actId="14100"/>
          <ac:graphicFrameMkLst>
            <pc:docMk/>
            <pc:sldMk cId="827770974" sldId="1562"/>
            <ac:graphicFrameMk id="6" creationId="{94CFF6CF-D99D-4A46-BFD4-6624899CD79E}"/>
          </ac:graphicFrameMkLst>
        </pc:graphicFrameChg>
      </pc:sldChg>
      <pc:sldChg chg="addSp delSp modSp new del mod">
        <pc:chgData name="Justine Zayhowski" userId="2377d393-ab0f-4e66-8672-ed1beebcd407" providerId="ADAL" clId="{A7AA9292-A805-421F-B7FE-06835B8484B6}" dt="2021-01-28T14:22:52.802" v="25630" actId="2696"/>
        <pc:sldMkLst>
          <pc:docMk/>
          <pc:sldMk cId="1694219525" sldId="1563"/>
        </pc:sldMkLst>
        <pc:spChg chg="mod">
          <ac:chgData name="Justine Zayhowski" userId="2377d393-ab0f-4e66-8672-ed1beebcd407" providerId="ADAL" clId="{A7AA9292-A805-421F-B7FE-06835B8484B6}" dt="2020-12-21T17:20:36.053" v="11966" actId="20577"/>
          <ac:spMkLst>
            <pc:docMk/>
            <pc:sldMk cId="1694219525" sldId="1563"/>
            <ac:spMk id="2" creationId="{34C054B3-8C58-4544-B4FE-DF04D5473C87}"/>
          </ac:spMkLst>
        </pc:spChg>
        <pc:spChg chg="add del mod">
          <ac:chgData name="Justine Zayhowski" userId="2377d393-ab0f-4e66-8672-ed1beebcd407" providerId="ADAL" clId="{A7AA9292-A805-421F-B7FE-06835B8484B6}" dt="2021-01-06T15:44:53.857" v="20583" actId="20577"/>
          <ac:spMkLst>
            <pc:docMk/>
            <pc:sldMk cId="1694219525" sldId="1563"/>
            <ac:spMk id="3" creationId="{1FEC2D7E-85C8-47AD-97CD-AE676F031E8B}"/>
          </ac:spMkLst>
        </pc:spChg>
        <pc:spChg chg="add mod">
          <ac:chgData name="Justine Zayhowski" userId="2377d393-ab0f-4e66-8672-ed1beebcd407" providerId="ADAL" clId="{A7AA9292-A805-421F-B7FE-06835B8484B6}" dt="2021-01-06T15:45:00.600" v="20589" actId="1036"/>
          <ac:spMkLst>
            <pc:docMk/>
            <pc:sldMk cId="1694219525" sldId="1563"/>
            <ac:spMk id="6" creationId="{40800BA6-1E07-4BEC-BE51-74688EF406A8}"/>
          </ac:spMkLst>
        </pc:spChg>
        <pc:graphicFrameChg chg="add del mod">
          <ac:chgData name="Justine Zayhowski" userId="2377d393-ab0f-4e66-8672-ed1beebcd407" providerId="ADAL" clId="{A7AA9292-A805-421F-B7FE-06835B8484B6}" dt="2020-12-21T17:40:17.671" v="11968"/>
          <ac:graphicFrameMkLst>
            <pc:docMk/>
            <pc:sldMk cId="1694219525" sldId="1563"/>
            <ac:graphicFrameMk id="4" creationId="{8CFFBE98-24C5-4BD0-8861-DEE8AE143113}"/>
          </ac:graphicFrameMkLst>
        </pc:graphicFrameChg>
        <pc:graphicFrameChg chg="add mod modGraphic">
          <ac:chgData name="Justine Zayhowski" userId="2377d393-ab0f-4e66-8672-ed1beebcd407" providerId="ADAL" clId="{A7AA9292-A805-421F-B7FE-06835B8484B6}" dt="2021-01-13T14:54:13.975" v="25130" actId="1036"/>
          <ac:graphicFrameMkLst>
            <pc:docMk/>
            <pc:sldMk cId="1694219525" sldId="1563"/>
            <ac:graphicFrameMk id="5" creationId="{B95F9419-7AF2-49F9-ADE8-9FECC79E5530}"/>
          </ac:graphicFrameMkLst>
        </pc:graphicFrameChg>
        <pc:graphicFrameChg chg="mod modGraphic">
          <ac:chgData name="Justine Zayhowski" userId="2377d393-ab0f-4e66-8672-ed1beebcd407" providerId="ADAL" clId="{A7AA9292-A805-421F-B7FE-06835B8484B6}" dt="2021-01-13T14:54:11.981" v="25126" actId="1036"/>
          <ac:graphicFrameMkLst>
            <pc:docMk/>
            <pc:sldMk cId="1694219525" sldId="1563"/>
            <ac:graphicFrameMk id="7" creationId="{143FC385-7A2A-4399-BC02-F3A1A7EC62AA}"/>
          </ac:graphicFrameMkLst>
        </pc:graphicFrameChg>
      </pc:sldChg>
      <pc:sldChg chg="addSp delSp modSp new del mod">
        <pc:chgData name="Justine Zayhowski" userId="2377d393-ab0f-4e66-8672-ed1beebcd407" providerId="ADAL" clId="{A7AA9292-A805-421F-B7FE-06835B8484B6}" dt="2021-01-28T14:22:52.802" v="25630" actId="2696"/>
        <pc:sldMkLst>
          <pc:docMk/>
          <pc:sldMk cId="4083851932" sldId="1564"/>
        </pc:sldMkLst>
        <pc:spChg chg="mod">
          <ac:chgData name="Justine Zayhowski" userId="2377d393-ab0f-4e66-8672-ed1beebcd407" providerId="ADAL" clId="{A7AA9292-A805-421F-B7FE-06835B8484B6}" dt="2020-12-21T17:45:24.959" v="12137" actId="20577"/>
          <ac:spMkLst>
            <pc:docMk/>
            <pc:sldMk cId="4083851932" sldId="1564"/>
            <ac:spMk id="2" creationId="{51E35F3E-2BA4-457B-B5C0-402DA2162ACF}"/>
          </ac:spMkLst>
        </pc:spChg>
        <pc:spChg chg="mod">
          <ac:chgData name="Justine Zayhowski" userId="2377d393-ab0f-4e66-8672-ed1beebcd407" providerId="ADAL" clId="{A7AA9292-A805-421F-B7FE-06835B8484B6}" dt="2021-01-06T15:47:03.483" v="20615" actId="20577"/>
          <ac:spMkLst>
            <pc:docMk/>
            <pc:sldMk cId="4083851932" sldId="1564"/>
            <ac:spMk id="3" creationId="{B2428971-AF0B-449B-8DB9-9AED6BD99630}"/>
          </ac:spMkLst>
        </pc:spChg>
        <pc:spChg chg="add del mod">
          <ac:chgData name="Justine Zayhowski" userId="2377d393-ab0f-4e66-8672-ed1beebcd407" providerId="ADAL" clId="{A7AA9292-A805-421F-B7FE-06835B8484B6}" dt="2021-01-13T14:56:55.053" v="25590" actId="478"/>
          <ac:spMkLst>
            <pc:docMk/>
            <pc:sldMk cId="4083851932" sldId="1564"/>
            <ac:spMk id="3" creationId="{E87520CC-6466-4ADE-900E-6F46A4985275}"/>
          </ac:spMkLst>
        </pc:spChg>
        <pc:spChg chg="add mod">
          <ac:chgData name="Justine Zayhowski" userId="2377d393-ab0f-4e66-8672-ed1beebcd407" providerId="ADAL" clId="{A7AA9292-A805-421F-B7FE-06835B8484B6}" dt="2021-01-06T15:46:53.528" v="20605" actId="20577"/>
          <ac:spMkLst>
            <pc:docMk/>
            <pc:sldMk cId="4083851932" sldId="1564"/>
            <ac:spMk id="5" creationId="{05F0F3F4-86D3-4DC8-9879-6790977EB9AB}"/>
          </ac:spMkLst>
        </pc:spChg>
        <pc:graphicFrameChg chg="add mod modGraphic">
          <ac:chgData name="Justine Zayhowski" userId="2377d393-ab0f-4e66-8672-ed1beebcd407" providerId="ADAL" clId="{A7AA9292-A805-421F-B7FE-06835B8484B6}" dt="2021-01-13T14:57:22.766" v="25618" actId="1036"/>
          <ac:graphicFrameMkLst>
            <pc:docMk/>
            <pc:sldMk cId="4083851932" sldId="1564"/>
            <ac:graphicFrameMk id="4" creationId="{7C7B30CC-7ED7-418D-B5B0-50740C992893}"/>
          </ac:graphicFrameMkLst>
        </pc:graphicFrameChg>
        <pc:graphicFrameChg chg="mod modGraphic">
          <ac:chgData name="Justine Zayhowski" userId="2377d393-ab0f-4e66-8672-ed1beebcd407" providerId="ADAL" clId="{A7AA9292-A805-421F-B7FE-06835B8484B6}" dt="2021-01-13T14:57:40.470" v="25622" actId="113"/>
          <ac:graphicFrameMkLst>
            <pc:docMk/>
            <pc:sldMk cId="4083851932" sldId="1564"/>
            <ac:graphicFrameMk id="6" creationId="{8525918E-23CD-4D51-9877-9B1F8B979351}"/>
          </ac:graphicFrameMkLst>
        </pc:graphicFrameChg>
      </pc:sldChg>
      <pc:sldChg chg="addSp delSp modSp new add del mod ord delCm">
        <pc:chgData name="Justine Zayhowski" userId="2377d393-ab0f-4e66-8672-ed1beebcd407" providerId="ADAL" clId="{A7AA9292-A805-421F-B7FE-06835B8484B6}" dt="2021-01-13T14:08:30.376" v="23098" actId="478"/>
        <pc:sldMkLst>
          <pc:docMk/>
          <pc:sldMk cId="2718904717" sldId="1565"/>
        </pc:sldMkLst>
        <pc:spChg chg="mod">
          <ac:chgData name="Justine Zayhowski" userId="2377d393-ab0f-4e66-8672-ed1beebcd407" providerId="ADAL" clId="{A7AA9292-A805-421F-B7FE-06835B8484B6}" dt="2020-12-24T16:53:52.612" v="12449" actId="20577"/>
          <ac:spMkLst>
            <pc:docMk/>
            <pc:sldMk cId="2718904717" sldId="1565"/>
            <ac:spMk id="2" creationId="{E08AA6FB-E19D-4112-8C5B-2F069C7E9193}"/>
          </ac:spMkLst>
        </pc:spChg>
        <pc:spChg chg="mod">
          <ac:chgData name="Justine Zayhowski" userId="2377d393-ab0f-4e66-8672-ed1beebcd407" providerId="ADAL" clId="{A7AA9292-A805-421F-B7FE-06835B8484B6}" dt="2021-01-13T14:08:27.988" v="23097" actId="255"/>
          <ac:spMkLst>
            <pc:docMk/>
            <pc:sldMk cId="2718904717" sldId="1565"/>
            <ac:spMk id="3" creationId="{D4A8534B-B70C-4A4F-900E-3C9058F5AD18}"/>
          </ac:spMkLst>
        </pc:spChg>
        <pc:spChg chg="add del mod">
          <ac:chgData name="Justine Zayhowski" userId="2377d393-ab0f-4e66-8672-ed1beebcd407" providerId="ADAL" clId="{A7AA9292-A805-421F-B7FE-06835B8484B6}" dt="2021-01-13T14:08:30.376" v="23098" actId="478"/>
          <ac:spMkLst>
            <pc:docMk/>
            <pc:sldMk cId="2718904717" sldId="1565"/>
            <ac:spMk id="4" creationId="{E750EC92-C4CF-413E-9D9D-5EDA92E84768}"/>
          </ac:spMkLst>
        </pc:spChg>
      </pc:sldChg>
      <pc:sldChg chg="modSp add del mod">
        <pc:chgData name="Justine Zayhowski" userId="2377d393-ab0f-4e66-8672-ed1beebcd407" providerId="ADAL" clId="{A7AA9292-A805-421F-B7FE-06835B8484B6}" dt="2020-12-28T14:34:31.721" v="13531" actId="47"/>
        <pc:sldMkLst>
          <pc:docMk/>
          <pc:sldMk cId="1916193782" sldId="1566"/>
        </pc:sldMkLst>
        <pc:spChg chg="mod">
          <ac:chgData name="Justine Zayhowski" userId="2377d393-ab0f-4e66-8672-ed1beebcd407" providerId="ADAL" clId="{A7AA9292-A805-421F-B7FE-06835B8484B6}" dt="2020-12-24T16:58:55.940" v="13126" actId="1035"/>
          <ac:spMkLst>
            <pc:docMk/>
            <pc:sldMk cId="1916193782" sldId="1566"/>
            <ac:spMk id="5" creationId="{D3915D3D-656E-48AA-8D63-358A7E5AA453}"/>
          </ac:spMkLst>
        </pc:spChg>
      </pc:sldChg>
      <pc:sldChg chg="modSp add mod">
        <pc:chgData name="Justine Zayhowski" userId="2377d393-ab0f-4e66-8672-ed1beebcd407" providerId="ADAL" clId="{A7AA9292-A805-421F-B7FE-06835B8484B6}" dt="2020-12-28T14:51:32.223" v="14205" actId="20577"/>
        <pc:sldMkLst>
          <pc:docMk/>
          <pc:sldMk cId="2304892868" sldId="1566"/>
        </pc:sldMkLst>
        <pc:spChg chg="mod">
          <ac:chgData name="Justine Zayhowski" userId="2377d393-ab0f-4e66-8672-ed1beebcd407" providerId="ADAL" clId="{A7AA9292-A805-421F-B7FE-06835B8484B6}" dt="2020-12-28T14:51:32.223" v="14205" actId="20577"/>
          <ac:spMkLst>
            <pc:docMk/>
            <pc:sldMk cId="2304892868" sldId="1566"/>
            <ac:spMk id="3" creationId="{8E396B14-F9D7-4ACC-AED3-6E88E76396F5}"/>
          </ac:spMkLst>
        </pc:spChg>
        <pc:spChg chg="mod">
          <ac:chgData name="Justine Zayhowski" userId="2377d393-ab0f-4e66-8672-ed1beebcd407" providerId="ADAL" clId="{A7AA9292-A805-421F-B7FE-06835B8484B6}" dt="2020-12-28T14:34:38.934" v="13557" actId="1035"/>
          <ac:spMkLst>
            <pc:docMk/>
            <pc:sldMk cId="2304892868" sldId="1566"/>
            <ac:spMk id="5" creationId="{D3915D3D-656E-48AA-8D63-358A7E5AA453}"/>
          </ac:spMkLst>
        </pc:spChg>
      </pc:sldChg>
      <pc:sldChg chg="modSp new del mod">
        <pc:chgData name="Justine Zayhowski" userId="2377d393-ab0f-4e66-8672-ed1beebcd407" providerId="ADAL" clId="{A7AA9292-A805-421F-B7FE-06835B8484B6}" dt="2021-01-07T13:38:18.376" v="20921" actId="47"/>
        <pc:sldMkLst>
          <pc:docMk/>
          <pc:sldMk cId="2486235592" sldId="1567"/>
        </pc:sldMkLst>
        <pc:spChg chg="mod">
          <ac:chgData name="Justine Zayhowski" userId="2377d393-ab0f-4e66-8672-ed1beebcd407" providerId="ADAL" clId="{A7AA9292-A805-421F-B7FE-06835B8484B6}" dt="2020-12-28T14:35:50.446" v="13667" actId="20577"/>
          <ac:spMkLst>
            <pc:docMk/>
            <pc:sldMk cId="2486235592" sldId="1567"/>
            <ac:spMk id="2" creationId="{93978ECD-0ABA-4377-9AEF-9F34B3626A3D}"/>
          </ac:spMkLst>
        </pc:spChg>
        <pc:spChg chg="mod">
          <ac:chgData name="Justine Zayhowski" userId="2377d393-ab0f-4e66-8672-ed1beebcd407" providerId="ADAL" clId="{A7AA9292-A805-421F-B7FE-06835B8484B6}" dt="2021-01-06T15:34:50.494" v="20392" actId="20577"/>
          <ac:spMkLst>
            <pc:docMk/>
            <pc:sldMk cId="2486235592" sldId="1567"/>
            <ac:spMk id="3" creationId="{48CD8047-8E4B-4572-8160-EB604C13C041}"/>
          </ac:spMkLst>
        </pc:spChg>
      </pc:sldChg>
      <pc:sldChg chg="modSp add del mod">
        <pc:chgData name="Justine Zayhowski" userId="2377d393-ab0f-4e66-8672-ed1beebcd407" providerId="ADAL" clId="{A7AA9292-A805-421F-B7FE-06835B8484B6}" dt="2020-12-28T14:34:32.796" v="13532" actId="47"/>
        <pc:sldMkLst>
          <pc:docMk/>
          <pc:sldMk cId="3297912854" sldId="1567"/>
        </pc:sldMkLst>
        <pc:spChg chg="mod">
          <ac:chgData name="Justine Zayhowski" userId="2377d393-ab0f-4e66-8672-ed1beebcd407" providerId="ADAL" clId="{A7AA9292-A805-421F-B7FE-06835B8484B6}" dt="2020-12-24T16:59:04.068" v="13145" actId="1035"/>
          <ac:spMkLst>
            <pc:docMk/>
            <pc:sldMk cId="3297912854" sldId="1567"/>
            <ac:spMk id="5" creationId="{D3915D3D-656E-48AA-8D63-358A7E5AA453}"/>
          </ac:spMkLst>
        </pc:spChg>
      </pc:sldChg>
      <pc:sldChg chg="new del">
        <pc:chgData name="Justine Zayhowski" userId="2377d393-ab0f-4e66-8672-ed1beebcd407" providerId="ADAL" clId="{A7AA9292-A805-421F-B7FE-06835B8484B6}" dt="2020-12-28T14:34:30.601" v="13530" actId="680"/>
        <pc:sldMkLst>
          <pc:docMk/>
          <pc:sldMk cId="1826236598" sldId="1568"/>
        </pc:sldMkLst>
      </pc:sldChg>
      <pc:sldChg chg="delSp modSp add mod">
        <pc:chgData name="Justine Zayhowski" userId="2377d393-ab0f-4e66-8672-ed1beebcd407" providerId="ADAL" clId="{A7AA9292-A805-421F-B7FE-06835B8484B6}" dt="2020-12-30T20:10:55.644" v="17968" actId="1076"/>
        <pc:sldMkLst>
          <pc:docMk/>
          <pc:sldMk cId="2707757372" sldId="1568"/>
        </pc:sldMkLst>
        <pc:spChg chg="mod">
          <ac:chgData name="Justine Zayhowski" userId="2377d393-ab0f-4e66-8672-ed1beebcd407" providerId="ADAL" clId="{A7AA9292-A805-421F-B7FE-06835B8484B6}" dt="2020-12-29T13:36:37.138" v="16849" actId="20577"/>
          <ac:spMkLst>
            <pc:docMk/>
            <pc:sldMk cId="2707757372" sldId="1568"/>
            <ac:spMk id="3" creationId="{C459E275-C164-416D-AB74-FBFD0C47C667}"/>
          </ac:spMkLst>
        </pc:spChg>
        <pc:spChg chg="del">
          <ac:chgData name="Justine Zayhowski" userId="2377d393-ab0f-4e66-8672-ed1beebcd407" providerId="ADAL" clId="{A7AA9292-A805-421F-B7FE-06835B8484B6}" dt="2020-12-28T14:42:31.766" v="14050" actId="478"/>
          <ac:spMkLst>
            <pc:docMk/>
            <pc:sldMk cId="2707757372" sldId="1568"/>
            <ac:spMk id="4" creationId="{19EDC8E9-8B8A-4444-A79D-4EAEE3236A84}"/>
          </ac:spMkLst>
        </pc:spChg>
        <pc:graphicFrameChg chg="mod modGraphic">
          <ac:chgData name="Justine Zayhowski" userId="2377d393-ab0f-4e66-8672-ed1beebcd407" providerId="ADAL" clId="{A7AA9292-A805-421F-B7FE-06835B8484B6}" dt="2020-12-30T20:10:55.644" v="17968" actId="1076"/>
          <ac:graphicFrameMkLst>
            <pc:docMk/>
            <pc:sldMk cId="2707757372" sldId="1568"/>
            <ac:graphicFrameMk id="6" creationId="{00C1D98E-05EB-40AF-885D-8B1317B40187}"/>
          </ac:graphicFrameMkLst>
        </pc:graphicFrameChg>
      </pc:sldChg>
      <pc:sldChg chg="addSp modSp new del mod delCm">
        <pc:chgData name="Justine Zayhowski" userId="2377d393-ab0f-4e66-8672-ed1beebcd407" providerId="ADAL" clId="{A7AA9292-A805-421F-B7FE-06835B8484B6}" dt="2020-12-30T18:50:46.141" v="17966" actId="47"/>
        <pc:sldMkLst>
          <pc:docMk/>
          <pc:sldMk cId="2907942846" sldId="1569"/>
        </pc:sldMkLst>
        <pc:spChg chg="mod">
          <ac:chgData name="Justine Zayhowski" userId="2377d393-ab0f-4e66-8672-ed1beebcd407" providerId="ADAL" clId="{A7AA9292-A805-421F-B7FE-06835B8484B6}" dt="2020-12-28T14:55:08.543" v="14434" actId="20577"/>
          <ac:spMkLst>
            <pc:docMk/>
            <pc:sldMk cId="2907942846" sldId="1569"/>
            <ac:spMk id="2" creationId="{C7BE9799-74B3-46B4-A117-6B29C5CE37FD}"/>
          </ac:spMkLst>
        </pc:spChg>
        <pc:spChg chg="mod">
          <ac:chgData name="Justine Zayhowski" userId="2377d393-ab0f-4e66-8672-ed1beebcd407" providerId="ADAL" clId="{A7AA9292-A805-421F-B7FE-06835B8484B6}" dt="2020-12-28T15:01:18.495" v="14491" actId="20577"/>
          <ac:spMkLst>
            <pc:docMk/>
            <pc:sldMk cId="2907942846" sldId="1569"/>
            <ac:spMk id="3" creationId="{0DA78782-B9BC-47ED-86E9-0393125BC5EE}"/>
          </ac:spMkLst>
        </pc:spChg>
        <pc:graphicFrameChg chg="add mod modGraphic">
          <ac:chgData name="Justine Zayhowski" userId="2377d393-ab0f-4e66-8672-ed1beebcd407" providerId="ADAL" clId="{A7AA9292-A805-421F-B7FE-06835B8484B6}" dt="2020-12-28T15:53:10.850" v="15759" actId="1076"/>
          <ac:graphicFrameMkLst>
            <pc:docMk/>
            <pc:sldMk cId="2907942846" sldId="1569"/>
            <ac:graphicFrameMk id="4" creationId="{C0FF9058-F080-4048-BC3C-7471FCA612D2}"/>
          </ac:graphicFrameMkLst>
        </pc:graphicFrameChg>
      </pc:sldChg>
      <pc:sldChg chg="addSp modSp new del mod">
        <pc:chgData name="Justine Zayhowski" userId="2377d393-ab0f-4e66-8672-ed1beebcd407" providerId="ADAL" clId="{A7AA9292-A805-421F-B7FE-06835B8484B6}" dt="2020-12-30T18:50:47.134" v="17967" actId="47"/>
        <pc:sldMkLst>
          <pc:docMk/>
          <pc:sldMk cId="1852964533" sldId="1570"/>
        </pc:sldMkLst>
        <pc:spChg chg="mod">
          <ac:chgData name="Justine Zayhowski" userId="2377d393-ab0f-4e66-8672-ed1beebcd407" providerId="ADAL" clId="{A7AA9292-A805-421F-B7FE-06835B8484B6}" dt="2020-12-28T15:18:48.138" v="14779" actId="20577"/>
          <ac:spMkLst>
            <pc:docMk/>
            <pc:sldMk cId="1852964533" sldId="1570"/>
            <ac:spMk id="2" creationId="{B573303F-1B86-4518-BEB9-07C66D06BE3B}"/>
          </ac:spMkLst>
        </pc:spChg>
        <pc:spChg chg="mod">
          <ac:chgData name="Justine Zayhowski" userId="2377d393-ab0f-4e66-8672-ed1beebcd407" providerId="ADAL" clId="{A7AA9292-A805-421F-B7FE-06835B8484B6}" dt="2020-12-28T15:24:57.234" v="15196" actId="1035"/>
          <ac:spMkLst>
            <pc:docMk/>
            <pc:sldMk cId="1852964533" sldId="1570"/>
            <ac:spMk id="3" creationId="{07A86647-C74D-45BA-82FF-081B7E42D6C0}"/>
          </ac:spMkLst>
        </pc:spChg>
        <pc:spChg chg="add mod">
          <ac:chgData name="Justine Zayhowski" userId="2377d393-ab0f-4e66-8672-ed1beebcd407" providerId="ADAL" clId="{A7AA9292-A805-421F-B7FE-06835B8484B6}" dt="2020-12-28T15:23:08.469" v="15076" actId="1076"/>
          <ac:spMkLst>
            <pc:docMk/>
            <pc:sldMk cId="1852964533" sldId="1570"/>
            <ac:spMk id="5" creationId="{E0DF4D3F-82F1-4E35-9A92-932B94B7C3B5}"/>
          </ac:spMkLst>
        </pc:spChg>
        <pc:graphicFrameChg chg="add mod modGraphic">
          <ac:chgData name="Justine Zayhowski" userId="2377d393-ab0f-4e66-8672-ed1beebcd407" providerId="ADAL" clId="{A7AA9292-A805-421F-B7FE-06835B8484B6}" dt="2020-12-28T15:25:00.451" v="15216" actId="1036"/>
          <ac:graphicFrameMkLst>
            <pc:docMk/>
            <pc:sldMk cId="1852964533" sldId="1570"/>
            <ac:graphicFrameMk id="4" creationId="{1CE59CEB-DB73-4E26-89E1-47679AF0A56C}"/>
          </ac:graphicFrameMkLst>
        </pc:graphicFrameChg>
      </pc:sldChg>
      <pc:sldChg chg="modSp add mod">
        <pc:chgData name="Justine Zayhowski" userId="2377d393-ab0f-4e66-8672-ed1beebcd407" providerId="ADAL" clId="{A7AA9292-A805-421F-B7FE-06835B8484B6}" dt="2021-01-08T20:41:23.767" v="22777" actId="20577"/>
        <pc:sldMkLst>
          <pc:docMk/>
          <pc:sldMk cId="2458203957" sldId="1573"/>
        </pc:sldMkLst>
        <pc:spChg chg="mod">
          <ac:chgData name="Justine Zayhowski" userId="2377d393-ab0f-4e66-8672-ed1beebcd407" providerId="ADAL" clId="{A7AA9292-A805-421F-B7FE-06835B8484B6}" dt="2021-01-08T20:41:23.767" v="22777" actId="20577"/>
          <ac:spMkLst>
            <pc:docMk/>
            <pc:sldMk cId="2458203957" sldId="1573"/>
            <ac:spMk id="3" creationId="{C1ACF851-F1A0-47BB-B553-CF914E9CC80C}"/>
          </ac:spMkLst>
        </pc:spChg>
      </pc:sldChg>
      <pc:sldChg chg="delSp modSp new del mod">
        <pc:chgData name="Justine Zayhowski" userId="2377d393-ab0f-4e66-8672-ed1beebcd407" providerId="ADAL" clId="{A7AA9292-A805-421F-B7FE-06835B8484B6}" dt="2021-01-28T14:23:12.871" v="25631" actId="2696"/>
        <pc:sldMkLst>
          <pc:docMk/>
          <pc:sldMk cId="2593316172" sldId="1574"/>
        </pc:sldMkLst>
        <pc:spChg chg="mod">
          <ac:chgData name="Justine Zayhowski" userId="2377d393-ab0f-4e66-8672-ed1beebcd407" providerId="ADAL" clId="{A7AA9292-A805-421F-B7FE-06835B8484B6}" dt="2021-01-08T19:55:18.677" v="21379" actId="20577"/>
          <ac:spMkLst>
            <pc:docMk/>
            <pc:sldMk cId="2593316172" sldId="1574"/>
            <ac:spMk id="2" creationId="{4CCD0B80-3534-49F8-9723-5AB8706E3FCC}"/>
          </ac:spMkLst>
        </pc:spChg>
        <pc:spChg chg="del">
          <ac:chgData name="Justine Zayhowski" userId="2377d393-ab0f-4e66-8672-ed1beebcd407" providerId="ADAL" clId="{A7AA9292-A805-421F-B7FE-06835B8484B6}" dt="2021-01-08T19:55:20.264" v="21380" actId="478"/>
          <ac:spMkLst>
            <pc:docMk/>
            <pc:sldMk cId="2593316172" sldId="1574"/>
            <ac:spMk id="3" creationId="{0F7824A8-EB96-4DA3-8596-19B063094BB2}"/>
          </ac:spMkLst>
        </pc:spChg>
      </pc:sldChg>
      <pc:sldChg chg="del">
        <pc:chgData name="Justine Zayhowski" userId="2377d393-ab0f-4e66-8672-ed1beebcd407" providerId="ADAL" clId="{A7AA9292-A805-421F-B7FE-06835B8484B6}" dt="2021-01-28T14:23:12.871" v="25631" actId="2696"/>
        <pc:sldMkLst>
          <pc:docMk/>
          <pc:sldMk cId="1094721067" sldId="3746"/>
        </pc:sldMkLst>
      </pc:sldChg>
      <pc:sldChg chg="del">
        <pc:chgData name="Justine Zayhowski" userId="2377d393-ab0f-4e66-8672-ed1beebcd407" providerId="ADAL" clId="{A7AA9292-A805-421F-B7FE-06835B8484B6}" dt="2021-01-28T14:23:12.871" v="25631" actId="2696"/>
        <pc:sldMkLst>
          <pc:docMk/>
          <pc:sldMk cId="1201535540" sldId="3787"/>
        </pc:sldMkLst>
      </pc:sldChg>
      <pc:sldChg chg="del">
        <pc:chgData name="Justine Zayhowski" userId="2377d393-ab0f-4e66-8672-ed1beebcd407" providerId="ADAL" clId="{A7AA9292-A805-421F-B7FE-06835B8484B6}" dt="2021-01-28T14:23:12.871" v="25631" actId="2696"/>
        <pc:sldMkLst>
          <pc:docMk/>
          <pc:sldMk cId="3390457210" sldId="3999"/>
        </pc:sldMkLst>
      </pc:sldChg>
      <pc:sldChg chg="del">
        <pc:chgData name="Justine Zayhowski" userId="2377d393-ab0f-4e66-8672-ed1beebcd407" providerId="ADAL" clId="{A7AA9292-A805-421F-B7FE-06835B8484B6}" dt="2021-01-28T14:23:12.871" v="25631" actId="2696"/>
        <pc:sldMkLst>
          <pc:docMk/>
          <pc:sldMk cId="2637751457" sldId="4001"/>
        </pc:sldMkLst>
      </pc:sldChg>
      <pc:sldChg chg="del">
        <pc:chgData name="Justine Zayhowski" userId="2377d393-ab0f-4e66-8672-ed1beebcd407" providerId="ADAL" clId="{A7AA9292-A805-421F-B7FE-06835B8484B6}" dt="2021-01-28T14:23:12.871" v="25631" actId="2696"/>
        <pc:sldMkLst>
          <pc:docMk/>
          <pc:sldMk cId="2003085332" sldId="4002"/>
        </pc:sldMkLst>
      </pc:sldChg>
      <pc:sldChg chg="del">
        <pc:chgData name="Justine Zayhowski" userId="2377d393-ab0f-4e66-8672-ed1beebcd407" providerId="ADAL" clId="{A7AA9292-A805-421F-B7FE-06835B8484B6}" dt="2021-01-28T14:23:12.871" v="25631" actId="2696"/>
        <pc:sldMkLst>
          <pc:docMk/>
          <pc:sldMk cId="830206411" sldId="4028"/>
        </pc:sldMkLst>
      </pc:sldChg>
      <pc:sldChg chg="del">
        <pc:chgData name="Justine Zayhowski" userId="2377d393-ab0f-4e66-8672-ed1beebcd407" providerId="ADAL" clId="{A7AA9292-A805-421F-B7FE-06835B8484B6}" dt="2021-01-28T14:23:12.871" v="25631" actId="2696"/>
        <pc:sldMkLst>
          <pc:docMk/>
          <pc:sldMk cId="3823003786" sldId="4031"/>
        </pc:sldMkLst>
      </pc:sldChg>
      <pc:sldChg chg="del">
        <pc:chgData name="Justine Zayhowski" userId="2377d393-ab0f-4e66-8672-ed1beebcd407" providerId="ADAL" clId="{A7AA9292-A805-421F-B7FE-06835B8484B6}" dt="2021-01-28T14:23:12.871" v="25631" actId="2696"/>
        <pc:sldMkLst>
          <pc:docMk/>
          <pc:sldMk cId="1697296994" sldId="4032"/>
        </pc:sldMkLst>
      </pc:sldChg>
      <pc:sldChg chg="del">
        <pc:chgData name="Justine Zayhowski" userId="2377d393-ab0f-4e66-8672-ed1beebcd407" providerId="ADAL" clId="{A7AA9292-A805-421F-B7FE-06835B8484B6}" dt="2021-01-28T14:23:12.871" v="25631" actId="2696"/>
        <pc:sldMkLst>
          <pc:docMk/>
          <pc:sldMk cId="2634012718" sldId="4038"/>
        </pc:sldMkLst>
      </pc:sldChg>
      <pc:sldChg chg="del">
        <pc:chgData name="Justine Zayhowski" userId="2377d393-ab0f-4e66-8672-ed1beebcd407" providerId="ADAL" clId="{A7AA9292-A805-421F-B7FE-06835B8484B6}" dt="2021-01-28T14:23:12.871" v="25631" actId="2696"/>
        <pc:sldMkLst>
          <pc:docMk/>
          <pc:sldMk cId="4132452934" sldId="4041"/>
        </pc:sldMkLst>
      </pc:sldChg>
      <pc:sldChg chg="del">
        <pc:chgData name="Justine Zayhowski" userId="2377d393-ab0f-4e66-8672-ed1beebcd407" providerId="ADAL" clId="{A7AA9292-A805-421F-B7FE-06835B8484B6}" dt="2021-01-28T14:23:12.871" v="25631" actId="2696"/>
        <pc:sldMkLst>
          <pc:docMk/>
          <pc:sldMk cId="3372783944" sldId="4042"/>
        </pc:sldMkLst>
      </pc:sldChg>
      <pc:sldChg chg="addSp delSp modSp new mod">
        <pc:chgData name="Justine Zayhowski" userId="2377d393-ab0f-4e66-8672-ed1beebcd407" providerId="ADAL" clId="{A7AA9292-A805-421F-B7FE-06835B8484B6}" dt="2021-01-19T13:24:00.906" v="25627" actId="20577"/>
        <pc:sldMkLst>
          <pc:docMk/>
          <pc:sldMk cId="615465991" sldId="4043"/>
        </pc:sldMkLst>
        <pc:spChg chg="mod">
          <ac:chgData name="Justine Zayhowski" userId="2377d393-ab0f-4e66-8672-ed1beebcd407" providerId="ADAL" clId="{A7AA9292-A805-421F-B7FE-06835B8484B6}" dt="2021-01-13T14:12:03.973" v="23204" actId="20577"/>
          <ac:spMkLst>
            <pc:docMk/>
            <pc:sldMk cId="615465991" sldId="4043"/>
            <ac:spMk id="2" creationId="{17254C91-459F-4A24-90CC-515859EAFC8D}"/>
          </ac:spMkLst>
        </pc:spChg>
        <pc:spChg chg="mod">
          <ac:chgData name="Justine Zayhowski" userId="2377d393-ab0f-4e66-8672-ed1beebcd407" providerId="ADAL" clId="{A7AA9292-A805-421F-B7FE-06835B8484B6}" dt="2021-01-19T13:24:00.906" v="25627" actId="20577"/>
          <ac:spMkLst>
            <pc:docMk/>
            <pc:sldMk cId="615465991" sldId="4043"/>
            <ac:spMk id="3" creationId="{20D717F3-CC3C-4396-804C-898E479BBE36}"/>
          </ac:spMkLst>
        </pc:spChg>
        <pc:spChg chg="add del mod">
          <ac:chgData name="Justine Zayhowski" userId="2377d393-ab0f-4e66-8672-ed1beebcd407" providerId="ADAL" clId="{A7AA9292-A805-421F-B7FE-06835B8484B6}" dt="2021-01-13T14:09:10.037" v="23105" actId="478"/>
          <ac:spMkLst>
            <pc:docMk/>
            <pc:sldMk cId="615465991" sldId="4043"/>
            <ac:spMk id="4" creationId="{2563A035-2223-4695-917F-5C4941AF25F9}"/>
          </ac:spMkLst>
        </pc:spChg>
        <pc:spChg chg="add del mod">
          <ac:chgData name="Justine Zayhowski" userId="2377d393-ab0f-4e66-8672-ed1beebcd407" providerId="ADAL" clId="{A7AA9292-A805-421F-B7FE-06835B8484B6}" dt="2021-01-14T13:16:04.323" v="25624" actId="478"/>
          <ac:spMkLst>
            <pc:docMk/>
            <pc:sldMk cId="615465991" sldId="4043"/>
            <ac:spMk id="5" creationId="{B866DE37-4BC2-4C75-BFC2-1B44143743EA}"/>
          </ac:spMkLst>
        </pc:spChg>
      </pc:sldChg>
      <pc:sldChg chg="add">
        <pc:chgData name="Justine Zayhowski" userId="2377d393-ab0f-4e66-8672-ed1beebcd407" providerId="ADAL" clId="{A7AA9292-A805-421F-B7FE-06835B8484B6}" dt="2021-01-19T17:54:12.315" v="25628"/>
        <pc:sldMkLst>
          <pc:docMk/>
          <pc:sldMk cId="811917387" sldId="4044"/>
        </pc:sldMkLst>
      </pc:sldChg>
      <pc:sldMasterChg chg="del delSldLayout">
        <pc:chgData name="Justine Zayhowski" userId="2377d393-ab0f-4e66-8672-ed1beebcd407" providerId="ADAL" clId="{A7AA9292-A805-421F-B7FE-06835B8484B6}" dt="2021-01-28T14:23:12.871" v="25631" actId="2696"/>
        <pc:sldMasterMkLst>
          <pc:docMk/>
          <pc:sldMasterMk cId="680510481" sldId="2147483672"/>
        </pc:sldMasterMkLst>
        <pc:sldLayoutChg chg="del">
          <pc:chgData name="Justine Zayhowski" userId="2377d393-ab0f-4e66-8672-ed1beebcd407" providerId="ADAL" clId="{A7AA9292-A805-421F-B7FE-06835B8484B6}" dt="2021-01-28T14:23:12.871" v="25631" actId="2696"/>
          <pc:sldLayoutMkLst>
            <pc:docMk/>
            <pc:sldMasterMk cId="680510481" sldId="2147483672"/>
            <pc:sldLayoutMk cId="3566821013" sldId="2147483673"/>
          </pc:sldLayoutMkLst>
        </pc:sldLayoutChg>
        <pc:sldLayoutChg chg="del">
          <pc:chgData name="Justine Zayhowski" userId="2377d393-ab0f-4e66-8672-ed1beebcd407" providerId="ADAL" clId="{A7AA9292-A805-421F-B7FE-06835B8484B6}" dt="2021-01-28T14:23:12.871" v="25631" actId="2696"/>
          <pc:sldLayoutMkLst>
            <pc:docMk/>
            <pc:sldMasterMk cId="680510481" sldId="2147483672"/>
            <pc:sldLayoutMk cId="774695182" sldId="2147483674"/>
          </pc:sldLayoutMkLst>
        </pc:sldLayoutChg>
        <pc:sldLayoutChg chg="del">
          <pc:chgData name="Justine Zayhowski" userId="2377d393-ab0f-4e66-8672-ed1beebcd407" providerId="ADAL" clId="{A7AA9292-A805-421F-B7FE-06835B8484B6}" dt="2021-01-28T14:23:12.871" v="25631" actId="2696"/>
          <pc:sldLayoutMkLst>
            <pc:docMk/>
            <pc:sldMasterMk cId="680510481" sldId="2147483672"/>
            <pc:sldLayoutMk cId="2032644103" sldId="2147483675"/>
          </pc:sldLayoutMkLst>
        </pc:sldLayoutChg>
        <pc:sldLayoutChg chg="del">
          <pc:chgData name="Justine Zayhowski" userId="2377d393-ab0f-4e66-8672-ed1beebcd407" providerId="ADAL" clId="{A7AA9292-A805-421F-B7FE-06835B8484B6}" dt="2021-01-28T14:23:12.871" v="25631" actId="2696"/>
          <pc:sldLayoutMkLst>
            <pc:docMk/>
            <pc:sldMasterMk cId="680510481" sldId="2147483672"/>
            <pc:sldLayoutMk cId="1410557451" sldId="2147483676"/>
          </pc:sldLayoutMkLst>
        </pc:sldLayoutChg>
        <pc:sldLayoutChg chg="del">
          <pc:chgData name="Justine Zayhowski" userId="2377d393-ab0f-4e66-8672-ed1beebcd407" providerId="ADAL" clId="{A7AA9292-A805-421F-B7FE-06835B8484B6}" dt="2021-01-28T14:23:12.871" v="25631" actId="2696"/>
          <pc:sldLayoutMkLst>
            <pc:docMk/>
            <pc:sldMasterMk cId="680510481" sldId="2147483672"/>
            <pc:sldLayoutMk cId="157476927" sldId="2147483677"/>
          </pc:sldLayoutMkLst>
        </pc:sldLayoutChg>
        <pc:sldLayoutChg chg="del">
          <pc:chgData name="Justine Zayhowski" userId="2377d393-ab0f-4e66-8672-ed1beebcd407" providerId="ADAL" clId="{A7AA9292-A805-421F-B7FE-06835B8484B6}" dt="2021-01-28T14:23:12.871" v="25631" actId="2696"/>
          <pc:sldLayoutMkLst>
            <pc:docMk/>
            <pc:sldMasterMk cId="680510481" sldId="2147483672"/>
            <pc:sldLayoutMk cId="4229425701" sldId="2147483678"/>
          </pc:sldLayoutMkLst>
        </pc:sldLayoutChg>
        <pc:sldLayoutChg chg="del">
          <pc:chgData name="Justine Zayhowski" userId="2377d393-ab0f-4e66-8672-ed1beebcd407" providerId="ADAL" clId="{A7AA9292-A805-421F-B7FE-06835B8484B6}" dt="2021-01-28T14:23:12.871" v="25631" actId="2696"/>
          <pc:sldLayoutMkLst>
            <pc:docMk/>
            <pc:sldMasterMk cId="680510481" sldId="2147483672"/>
            <pc:sldLayoutMk cId="1828977742" sldId="2147483679"/>
          </pc:sldLayoutMkLst>
        </pc:sldLayoutChg>
        <pc:sldLayoutChg chg="del">
          <pc:chgData name="Justine Zayhowski" userId="2377d393-ab0f-4e66-8672-ed1beebcd407" providerId="ADAL" clId="{A7AA9292-A805-421F-B7FE-06835B8484B6}" dt="2021-01-28T14:23:12.871" v="25631" actId="2696"/>
          <pc:sldLayoutMkLst>
            <pc:docMk/>
            <pc:sldMasterMk cId="680510481" sldId="2147483672"/>
            <pc:sldLayoutMk cId="3174715781" sldId="2147483680"/>
          </pc:sldLayoutMkLst>
        </pc:sldLayoutChg>
        <pc:sldLayoutChg chg="del">
          <pc:chgData name="Justine Zayhowski" userId="2377d393-ab0f-4e66-8672-ed1beebcd407" providerId="ADAL" clId="{A7AA9292-A805-421F-B7FE-06835B8484B6}" dt="2021-01-28T14:23:12.871" v="25631" actId="2696"/>
          <pc:sldLayoutMkLst>
            <pc:docMk/>
            <pc:sldMasterMk cId="680510481" sldId="2147483672"/>
            <pc:sldLayoutMk cId="2382729474" sldId="2147483681"/>
          </pc:sldLayoutMkLst>
        </pc:sldLayoutChg>
        <pc:sldLayoutChg chg="del">
          <pc:chgData name="Justine Zayhowski" userId="2377d393-ab0f-4e66-8672-ed1beebcd407" providerId="ADAL" clId="{A7AA9292-A805-421F-B7FE-06835B8484B6}" dt="2021-01-28T14:23:12.871" v="25631" actId="2696"/>
          <pc:sldLayoutMkLst>
            <pc:docMk/>
            <pc:sldMasterMk cId="680510481" sldId="2147483672"/>
            <pc:sldLayoutMk cId="1473301839" sldId="2147483682"/>
          </pc:sldLayoutMkLst>
        </pc:sldLayoutChg>
        <pc:sldLayoutChg chg="del">
          <pc:chgData name="Justine Zayhowski" userId="2377d393-ab0f-4e66-8672-ed1beebcd407" providerId="ADAL" clId="{A7AA9292-A805-421F-B7FE-06835B8484B6}" dt="2021-01-28T14:23:12.871" v="25631" actId="2696"/>
          <pc:sldLayoutMkLst>
            <pc:docMk/>
            <pc:sldMasterMk cId="680510481" sldId="2147483672"/>
            <pc:sldLayoutMk cId="1674883897" sldId="2147483683"/>
          </pc:sldLayoutMkLst>
        </pc:sldLayoutChg>
        <pc:sldLayoutChg chg="del">
          <pc:chgData name="Justine Zayhowski" userId="2377d393-ab0f-4e66-8672-ed1beebcd407" providerId="ADAL" clId="{A7AA9292-A805-421F-B7FE-06835B8484B6}" dt="2021-01-28T14:23:12.871" v="25631" actId="2696"/>
          <pc:sldLayoutMkLst>
            <pc:docMk/>
            <pc:sldMasterMk cId="680510481" sldId="2147483672"/>
            <pc:sldLayoutMk cId="1410041067" sldId="2147483684"/>
          </pc:sldLayoutMkLst>
        </pc:sldLayoutChg>
        <pc:sldLayoutChg chg="del">
          <pc:chgData name="Justine Zayhowski" userId="2377d393-ab0f-4e66-8672-ed1beebcd407" providerId="ADAL" clId="{A7AA9292-A805-421F-B7FE-06835B8484B6}" dt="2021-01-28T14:23:12.871" v="25631" actId="2696"/>
          <pc:sldLayoutMkLst>
            <pc:docMk/>
            <pc:sldMasterMk cId="680510481" sldId="2147483672"/>
            <pc:sldLayoutMk cId="1589068251" sldId="2147483685"/>
          </pc:sldLayoutMkLst>
        </pc:sldLayoutChg>
        <pc:sldLayoutChg chg="del">
          <pc:chgData name="Justine Zayhowski" userId="2377d393-ab0f-4e66-8672-ed1beebcd407" providerId="ADAL" clId="{A7AA9292-A805-421F-B7FE-06835B8484B6}" dt="2021-01-28T14:23:12.871" v="25631" actId="2696"/>
          <pc:sldLayoutMkLst>
            <pc:docMk/>
            <pc:sldMasterMk cId="680510481" sldId="2147483672"/>
            <pc:sldLayoutMk cId="130561834" sldId="2147483686"/>
          </pc:sldLayoutMkLst>
        </pc:sldLayoutChg>
        <pc:sldLayoutChg chg="del">
          <pc:chgData name="Justine Zayhowski" userId="2377d393-ab0f-4e66-8672-ed1beebcd407" providerId="ADAL" clId="{A7AA9292-A805-421F-B7FE-06835B8484B6}" dt="2021-01-28T14:23:12.871" v="25631" actId="2696"/>
          <pc:sldLayoutMkLst>
            <pc:docMk/>
            <pc:sldMasterMk cId="680510481" sldId="2147483672"/>
            <pc:sldLayoutMk cId="707433206" sldId="2147483687"/>
          </pc:sldLayoutMkLst>
        </pc:sldLayoutChg>
        <pc:sldLayoutChg chg="del">
          <pc:chgData name="Justine Zayhowski" userId="2377d393-ab0f-4e66-8672-ed1beebcd407" providerId="ADAL" clId="{A7AA9292-A805-421F-B7FE-06835B8484B6}" dt="2021-01-28T14:23:12.871" v="25631" actId="2696"/>
          <pc:sldLayoutMkLst>
            <pc:docMk/>
            <pc:sldMasterMk cId="680510481" sldId="2147483672"/>
            <pc:sldLayoutMk cId="1902506926" sldId="2147483688"/>
          </pc:sldLayoutMkLst>
        </pc:sldLayoutChg>
      </pc:sldMasterChg>
      <pc:sldMasterChg chg="del delSldLayout">
        <pc:chgData name="Justine Zayhowski" userId="2377d393-ab0f-4e66-8672-ed1beebcd407" providerId="ADAL" clId="{A7AA9292-A805-421F-B7FE-06835B8484B6}" dt="2021-01-28T14:23:12.871" v="25631" actId="2696"/>
        <pc:sldMasterMkLst>
          <pc:docMk/>
          <pc:sldMasterMk cId="1186479060" sldId="2147483689"/>
        </pc:sldMasterMkLst>
        <pc:sldLayoutChg chg="del">
          <pc:chgData name="Justine Zayhowski" userId="2377d393-ab0f-4e66-8672-ed1beebcd407" providerId="ADAL" clId="{A7AA9292-A805-421F-B7FE-06835B8484B6}" dt="2021-01-28T14:23:12.871" v="25631" actId="2696"/>
          <pc:sldLayoutMkLst>
            <pc:docMk/>
            <pc:sldMasterMk cId="1186479060" sldId="2147483689"/>
            <pc:sldLayoutMk cId="2074024865" sldId="2147483690"/>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3840146046" sldId="2147483691"/>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1638078666" sldId="2147483692"/>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259965489" sldId="2147483693"/>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3310531526" sldId="2147483694"/>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1852240301" sldId="2147483695"/>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3285642697" sldId="2147483696"/>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1096444394" sldId="2147483697"/>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1388238865" sldId="2147483698"/>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162604571" sldId="2147483699"/>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3719351466" sldId="2147483700"/>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2389110797" sldId="2147483701"/>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3243257957" sldId="2147483702"/>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653336307" sldId="2147483703"/>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3763467419" sldId="2147483704"/>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2585837545" sldId="2147483705"/>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1876855374" sldId="2147483706"/>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1618859171" sldId="2147483707"/>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1814202019" sldId="2147483708"/>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830452202" sldId="2147483709"/>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2060174860" sldId="2147483710"/>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956389580" sldId="2147483711"/>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2869605746" sldId="2147483712"/>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880682848" sldId="2147483713"/>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53320037" sldId="2147483714"/>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4039413694" sldId="2147483715"/>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1343523518" sldId="2147483716"/>
          </pc:sldLayoutMkLst>
        </pc:sldLayoutChg>
        <pc:sldLayoutChg chg="del">
          <pc:chgData name="Justine Zayhowski" userId="2377d393-ab0f-4e66-8672-ed1beebcd407" providerId="ADAL" clId="{A7AA9292-A805-421F-B7FE-06835B8484B6}" dt="2021-01-28T14:23:12.871" v="25631" actId="2696"/>
          <pc:sldLayoutMkLst>
            <pc:docMk/>
            <pc:sldMasterMk cId="1186479060" sldId="2147483689"/>
            <pc:sldLayoutMk cId="923850812" sldId="2147483717"/>
          </pc:sldLayoutMkLst>
        </pc:sldLayoutChg>
      </pc:sldMasterChg>
    </pc:docChg>
  </pc:docChgLst>
  <pc:docChgLst>
    <pc:chgData name="Deepti Kanneganti" userId="b73d4027-7210-4d24-a644-944b43c9971f" providerId="ADAL" clId="{F93CD302-4722-4BC7-BE76-E766D54F84DD}"/>
    <pc:docChg chg="custSel modSld">
      <pc:chgData name="Deepti Kanneganti" userId="b73d4027-7210-4d24-a644-944b43c9971f" providerId="ADAL" clId="{F93CD302-4722-4BC7-BE76-E766D54F84DD}" dt="2021-01-14T01:40:45.184" v="6" actId="207"/>
      <pc:docMkLst>
        <pc:docMk/>
      </pc:docMkLst>
      <pc:sldChg chg="modSp mod">
        <pc:chgData name="Deepti Kanneganti" userId="b73d4027-7210-4d24-a644-944b43c9971f" providerId="ADAL" clId="{F93CD302-4722-4BC7-BE76-E766D54F84DD}" dt="2021-01-14T01:40:45.184" v="6" actId="207"/>
        <pc:sldMkLst>
          <pc:docMk/>
          <pc:sldMk cId="2707757372" sldId="1568"/>
        </pc:sldMkLst>
        <pc:graphicFrameChg chg="modGraphic">
          <ac:chgData name="Deepti Kanneganti" userId="b73d4027-7210-4d24-a644-944b43c9971f" providerId="ADAL" clId="{F93CD302-4722-4BC7-BE76-E766D54F84DD}" dt="2021-01-14T01:40:45.184" v="6" actId="207"/>
          <ac:graphicFrameMkLst>
            <pc:docMk/>
            <pc:sldMk cId="2707757372" sldId="1568"/>
            <ac:graphicFrameMk id="6" creationId="{00C1D98E-05EB-40AF-885D-8B1317B40187}"/>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4B481253-7591-4523-955E-F80A848495CF}" type="datetimeFigureOut">
              <a:rPr lang="en-US" smtClean="0"/>
              <a:t>1/28/2021</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09DC8BEB-EE67-441D-A873-0468255F46D5}" type="slidenum">
              <a:rPr lang="en-US" smtClean="0"/>
              <a:t>‹#›</a:t>
            </a:fld>
            <a:endParaRPr lang="en-US"/>
          </a:p>
        </p:txBody>
      </p:sp>
    </p:spTree>
    <p:extLst>
      <p:ext uri="{BB962C8B-B14F-4D97-AF65-F5344CB8AC3E}">
        <p14:creationId xmlns:p14="http://schemas.microsoft.com/office/powerpoint/2010/main" val="2609859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6E87F2B8-DAB1-4BB7-AA03-13CA34FE8FA5}" type="datetimeFigureOut">
              <a:rPr lang="en-US" smtClean="0"/>
              <a:t>1/28/2021</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99B7833D-D0AA-4DCD-A1FD-49E43A30758C}" type="slidenum">
              <a:rPr lang="en-US" smtClean="0"/>
              <a:t>‹#›</a:t>
            </a:fld>
            <a:endParaRPr lang="en-US"/>
          </a:p>
        </p:txBody>
      </p:sp>
    </p:spTree>
    <p:extLst>
      <p:ext uri="{BB962C8B-B14F-4D97-AF65-F5344CB8AC3E}">
        <p14:creationId xmlns:p14="http://schemas.microsoft.com/office/powerpoint/2010/main" val="22108048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B7833D-D0AA-4DCD-A1FD-49E43A30758C}" type="slidenum">
              <a:rPr lang="en-US" smtClean="0"/>
              <a:t>1</a:t>
            </a:fld>
            <a:endParaRPr lang="en-US"/>
          </a:p>
        </p:txBody>
      </p:sp>
    </p:spTree>
    <p:extLst>
      <p:ext uri="{BB962C8B-B14F-4D97-AF65-F5344CB8AC3E}">
        <p14:creationId xmlns:p14="http://schemas.microsoft.com/office/powerpoint/2010/main" val="1936635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itional sources were considered in selected instances, but a comprehensive literature review was not performed for each measure.</a:t>
            </a:r>
          </a:p>
        </p:txBody>
      </p:sp>
      <p:sp>
        <p:nvSpPr>
          <p:cNvPr id="4" name="Slide Number Placeholder 3"/>
          <p:cNvSpPr>
            <a:spLocks noGrp="1"/>
          </p:cNvSpPr>
          <p:nvPr>
            <p:ph type="sldNum" sz="quarter" idx="5"/>
          </p:nvPr>
        </p:nvSpPr>
        <p:spPr/>
        <p:txBody>
          <a:bodyPr/>
          <a:lstStyle/>
          <a:p>
            <a:fld id="{99B7833D-D0AA-4DCD-A1FD-49E43A30758C}" type="slidenum">
              <a:rPr lang="en-US" smtClean="0"/>
              <a:t>21</a:t>
            </a:fld>
            <a:endParaRPr lang="en-US"/>
          </a:p>
        </p:txBody>
      </p:sp>
    </p:spTree>
    <p:extLst>
      <p:ext uri="{BB962C8B-B14F-4D97-AF65-F5344CB8AC3E}">
        <p14:creationId xmlns:p14="http://schemas.microsoft.com/office/powerpoint/2010/main" val="13490717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B7833D-D0AA-4DCD-A1FD-49E43A30758C}" type="slidenum">
              <a:rPr lang="en-US" smtClean="0"/>
              <a:t>25</a:t>
            </a:fld>
            <a:endParaRPr lang="en-US"/>
          </a:p>
        </p:txBody>
      </p:sp>
    </p:spTree>
    <p:extLst>
      <p:ext uri="{BB962C8B-B14F-4D97-AF65-F5344CB8AC3E}">
        <p14:creationId xmlns:p14="http://schemas.microsoft.com/office/powerpoint/2010/main" val="18205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B7833D-D0AA-4DCD-A1FD-49E43A30758C}" type="slidenum">
              <a:rPr lang="en-US" smtClean="0"/>
              <a:t>26</a:t>
            </a:fld>
            <a:endParaRPr lang="en-US"/>
          </a:p>
        </p:txBody>
      </p:sp>
    </p:spTree>
    <p:extLst>
      <p:ext uri="{BB962C8B-B14F-4D97-AF65-F5344CB8AC3E}">
        <p14:creationId xmlns:p14="http://schemas.microsoft.com/office/powerpoint/2010/main" val="6128521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 performance for commercial and MassHealth was below the 50</a:t>
            </a:r>
            <a:r>
              <a:rPr lang="en-US" baseline="30000"/>
              <a:t>th</a:t>
            </a:r>
            <a:r>
              <a:rPr lang="en-US"/>
              <a:t> percentile in 2016.</a:t>
            </a:r>
          </a:p>
        </p:txBody>
      </p:sp>
      <p:sp>
        <p:nvSpPr>
          <p:cNvPr id="4" name="Slide Number Placeholder 3"/>
          <p:cNvSpPr>
            <a:spLocks noGrp="1"/>
          </p:cNvSpPr>
          <p:nvPr>
            <p:ph type="sldNum" sz="quarter" idx="5"/>
          </p:nvPr>
        </p:nvSpPr>
        <p:spPr/>
        <p:txBody>
          <a:bodyPr/>
          <a:lstStyle/>
          <a:p>
            <a:fld id="{99B7833D-D0AA-4DCD-A1FD-49E43A30758C}" type="slidenum">
              <a:rPr lang="en-US" smtClean="0"/>
              <a:t>28</a:t>
            </a:fld>
            <a:endParaRPr lang="en-US"/>
          </a:p>
        </p:txBody>
      </p:sp>
    </p:spTree>
    <p:extLst>
      <p:ext uri="{BB962C8B-B14F-4D97-AF65-F5344CB8AC3E}">
        <p14:creationId xmlns:p14="http://schemas.microsoft.com/office/powerpoint/2010/main" val="19633430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Book Antiqua" panose="02040602050305030304" pitchFamily="18" charset="0"/>
              </a:rPr>
              <a:t>We moved up the review of the existing measure set from the process shared in November. </a:t>
            </a:r>
            <a:endParaRPr lang="en-US"/>
          </a:p>
        </p:txBody>
      </p:sp>
      <p:sp>
        <p:nvSpPr>
          <p:cNvPr id="4" name="Slide Number Placeholder 3"/>
          <p:cNvSpPr>
            <a:spLocks noGrp="1"/>
          </p:cNvSpPr>
          <p:nvPr>
            <p:ph type="sldNum" sz="quarter" idx="5"/>
          </p:nvPr>
        </p:nvSpPr>
        <p:spPr/>
        <p:txBody>
          <a:bodyPr/>
          <a:lstStyle/>
          <a:p>
            <a:fld id="{99B7833D-D0AA-4DCD-A1FD-49E43A30758C}" type="slidenum">
              <a:rPr lang="en-US" smtClean="0"/>
              <a:t>4</a:t>
            </a:fld>
            <a:endParaRPr lang="en-US"/>
          </a:p>
        </p:txBody>
      </p:sp>
    </p:spTree>
    <p:extLst>
      <p:ext uri="{BB962C8B-B14F-4D97-AF65-F5344CB8AC3E}">
        <p14:creationId xmlns:p14="http://schemas.microsoft.com/office/powerpoint/2010/main" val="996658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9B7833D-D0AA-4DCD-A1FD-49E43A30758C}" type="slidenum">
              <a:rPr lang="en-US" smtClean="0"/>
              <a:t>11</a:t>
            </a:fld>
            <a:endParaRPr lang="en-US"/>
          </a:p>
        </p:txBody>
      </p:sp>
    </p:spTree>
    <p:extLst>
      <p:ext uri="{BB962C8B-B14F-4D97-AF65-F5344CB8AC3E}">
        <p14:creationId xmlns:p14="http://schemas.microsoft.com/office/powerpoint/2010/main" val="18630386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4284508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40720536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6624970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7723849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B7833D-D0AA-4DCD-A1FD-49E43A30758C}" type="slidenum">
              <a:rPr lang="en-US" smtClean="0"/>
              <a:t>18</a:t>
            </a:fld>
            <a:endParaRPr lang="en-US"/>
          </a:p>
        </p:txBody>
      </p:sp>
    </p:spTree>
    <p:extLst>
      <p:ext uri="{BB962C8B-B14F-4D97-AF65-F5344CB8AC3E}">
        <p14:creationId xmlns:p14="http://schemas.microsoft.com/office/powerpoint/2010/main" val="6733667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itional sources were considered in selected instances, but a comprehensive literature review was not performed for each measure.</a:t>
            </a:r>
          </a:p>
        </p:txBody>
      </p:sp>
      <p:sp>
        <p:nvSpPr>
          <p:cNvPr id="4" name="Slide Number Placeholder 3"/>
          <p:cNvSpPr>
            <a:spLocks noGrp="1"/>
          </p:cNvSpPr>
          <p:nvPr>
            <p:ph type="sldNum" sz="quarter" idx="5"/>
          </p:nvPr>
        </p:nvSpPr>
        <p:spPr/>
        <p:txBody>
          <a:bodyPr/>
          <a:lstStyle/>
          <a:p>
            <a:fld id="{99B7833D-D0AA-4DCD-A1FD-49E43A30758C}" type="slidenum">
              <a:rPr lang="en-US" smtClean="0"/>
              <a:t>20</a:t>
            </a:fld>
            <a:endParaRPr lang="en-US"/>
          </a:p>
        </p:txBody>
      </p:sp>
    </p:spTree>
    <p:extLst>
      <p:ext uri="{BB962C8B-B14F-4D97-AF65-F5344CB8AC3E}">
        <p14:creationId xmlns:p14="http://schemas.microsoft.com/office/powerpoint/2010/main" val="36796274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6.pn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0.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0.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2400">
                <a:latin typeface="Book Antiqua" pitchFamily="18" charset="0"/>
                <a:cs typeface="Book Antiqua" pitchFamily="18" charset="0"/>
              </a:defRPr>
            </a:lvl1pPr>
          </a:lstStyle>
          <a:p>
            <a:r>
              <a:rPr lang="en-US"/>
              <a:t>Click to edit Master title style</a:t>
            </a:r>
          </a:p>
        </p:txBody>
      </p:sp>
      <p:sp>
        <p:nvSpPr>
          <p:cNvPr id="6" name="Content Placeholder 7"/>
          <p:cNvSpPr>
            <a:spLocks noGrp="1"/>
          </p:cNvSpPr>
          <p:nvPr>
            <p:ph sz="half" idx="1"/>
          </p:nvPr>
        </p:nvSpPr>
        <p:spPr>
          <a:xfrm>
            <a:off x="533400" y="1371600"/>
            <a:ext cx="8077200" cy="4556234"/>
          </a:xfrm>
          <a:ln w="6350" cmpd="sng"/>
        </p:spPr>
        <p:txBody>
          <a:bodyPr/>
          <a:lstStyle>
            <a:lvl1pPr>
              <a:buClrTx/>
              <a:buSzPct val="100000"/>
              <a:defRPr sz="2000">
                <a:solidFill>
                  <a:schemeClr val="tx1"/>
                </a:solidFill>
                <a:latin typeface="Book Antiqua" pitchFamily="18" charset="0"/>
              </a:defRPr>
            </a:lvl1pPr>
            <a:lvl2pPr>
              <a:buClrTx/>
              <a:buSzPct val="100000"/>
              <a:buFont typeface="Arial" pitchFamily="34" charset="0"/>
              <a:buChar char="•"/>
              <a:defRPr sz="2000">
                <a:solidFill>
                  <a:schemeClr val="tx1"/>
                </a:solidFill>
                <a:latin typeface="Book Antiqua" pitchFamily="18" charset="0"/>
              </a:defRPr>
            </a:lvl2pPr>
            <a:lvl3pPr>
              <a:buNone/>
              <a:defRPr/>
            </a:lvl3pPr>
          </a:lstStyle>
          <a:p>
            <a:pPr lvl="0"/>
            <a:r>
              <a:rPr lang="en-US"/>
              <a:t>Edit Master text styles</a:t>
            </a:r>
          </a:p>
          <a:p>
            <a:pPr lvl="1"/>
            <a:r>
              <a:rPr lang="en-US"/>
              <a:t>Second level</a:t>
            </a:r>
          </a:p>
        </p:txBody>
      </p:sp>
      <p:sp>
        <p:nvSpPr>
          <p:cNvPr id="4" name="TextBox 3"/>
          <p:cNvSpPr txBox="1"/>
          <p:nvPr userDrawn="1"/>
        </p:nvSpPr>
        <p:spPr>
          <a:xfrm rot="16200000">
            <a:off x="-2008187" y="2961790"/>
            <a:ext cx="4254500" cy="215444"/>
          </a:xfrm>
          <a:prstGeom prst="rect">
            <a:avLst/>
          </a:prstGeom>
          <a:noFill/>
        </p:spPr>
        <p:txBody>
          <a:bodyPr wrap="square" rtlCol="0">
            <a:spAutoFit/>
          </a:bodyPr>
          <a:lstStyle/>
          <a:p>
            <a:pPr algn="ctr"/>
            <a:r>
              <a:rPr lang="en-US" sz="800" b="0" cap="all" baseline="0"/>
              <a:t>Confidential WORKING draft – policy IN DEVELOPMENT</a:t>
            </a:r>
          </a:p>
        </p:txBody>
      </p:sp>
    </p:spTree>
    <p:extLst>
      <p:ext uri="{BB962C8B-B14F-4D97-AF65-F5344CB8AC3E}">
        <p14:creationId xmlns:p14="http://schemas.microsoft.com/office/powerpoint/2010/main" val="122380322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1_Title Slide">
    <p:bg>
      <p:bgPr>
        <a:solidFill>
          <a:schemeClr val="bg1"/>
        </a:solidFill>
        <a:effectLst/>
      </p:bgPr>
    </p:bg>
    <p:spTree>
      <p:nvGrpSpPr>
        <p:cNvPr id="1" name=""/>
        <p:cNvGrpSpPr/>
        <p:nvPr/>
      </p:nvGrpSpPr>
      <p:grpSpPr>
        <a:xfrm>
          <a:off x="0" y="0"/>
          <a:ext cx="0" cy="0"/>
          <a:chOff x="0" y="0"/>
          <a:chExt cx="0" cy="0"/>
        </a:xfrm>
      </p:grpSpPr>
      <p:pic>
        <p:nvPicPr>
          <p:cNvPr id="3200002" name="Picture 2" descr="Picture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638" y="-6350"/>
            <a:ext cx="9188451" cy="6864350"/>
          </a:xfrm>
          <a:prstGeom prst="rect">
            <a:avLst/>
          </a:prstGeom>
          <a:noFill/>
          <a:extLst>
            <a:ext uri="{909E8E84-426E-40DD-AFC4-6F175D3DCCD1}">
              <a14:hiddenFill xmlns:a14="http://schemas.microsoft.com/office/drawing/2010/main">
                <a:solidFill>
                  <a:srgbClr val="FFFFFF"/>
                </a:solidFill>
              </a14:hiddenFill>
            </a:ext>
          </a:extLst>
        </p:spPr>
      </p:pic>
      <p:sp>
        <p:nvSpPr>
          <p:cNvPr id="3200003" name="Rectangle 3"/>
          <p:cNvSpPr>
            <a:spLocks noGrp="1" noChangeArrowheads="1"/>
          </p:cNvSpPr>
          <p:nvPr>
            <p:ph type="subTitle" sz="quarter" idx="1"/>
          </p:nvPr>
        </p:nvSpPr>
        <p:spPr>
          <a:xfrm>
            <a:off x="4267201" y="3124200"/>
            <a:ext cx="4667250" cy="1568257"/>
          </a:xfrm>
        </p:spPr>
        <p:txBody>
          <a:bodyPr lIns="91430" tIns="45716" rIns="91430" bIns="45716"/>
          <a:lstStyle>
            <a:lvl1pPr marL="0" indent="0" algn="r">
              <a:defRPr sz="2800">
                <a:solidFill>
                  <a:srgbClr val="003366"/>
                </a:solidFill>
              </a:defRPr>
            </a:lvl1pPr>
            <a:lvl2pPr lvl="1" algn="r">
              <a:defRPr sz="2000">
                <a:solidFill>
                  <a:schemeClr val="tx2"/>
                </a:solidFill>
              </a:defRPr>
            </a:lvl2pPr>
            <a:lvl3pPr lvl="2" algn="r">
              <a:defRPr sz="2000">
                <a:solidFill>
                  <a:schemeClr val="tx2"/>
                </a:solidFill>
              </a:defRPr>
            </a:lvl3pPr>
          </a:lstStyle>
          <a:p>
            <a:pPr lvl="0"/>
            <a:r>
              <a:rPr lang="en-US" noProof="0"/>
              <a:t>Click to edit Master subtitle style</a:t>
            </a:r>
          </a:p>
        </p:txBody>
      </p:sp>
      <p:sp>
        <p:nvSpPr>
          <p:cNvPr id="3200006" name="Rectangle 6"/>
          <p:cNvSpPr>
            <a:spLocks noChangeArrowheads="1"/>
          </p:cNvSpPr>
          <p:nvPr userDrawn="1"/>
        </p:nvSpPr>
        <p:spPr bwMode="white">
          <a:xfrm>
            <a:off x="152400" y="1143000"/>
            <a:ext cx="4495800" cy="2057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nchor="b"/>
          <a:lstStyle/>
          <a:p>
            <a:pPr eaLnBrk="0" fontAlgn="base" hangingPunct="0">
              <a:spcBef>
                <a:spcPct val="20000"/>
              </a:spcBef>
              <a:spcAft>
                <a:spcPct val="0"/>
              </a:spcAft>
              <a:tabLst>
                <a:tab pos="915891" algn="l"/>
              </a:tabLst>
            </a:pPr>
            <a:r>
              <a:rPr lang="en-US" altLang="en-US" sz="2800" b="1">
                <a:solidFill>
                  <a:srgbClr val="F8F8F8"/>
                </a:solidFill>
              </a:rPr>
              <a:t>Commonwealth of Massachusetts</a:t>
            </a:r>
            <a:br>
              <a:rPr lang="en-US" altLang="en-US" sz="2800" b="1">
                <a:solidFill>
                  <a:srgbClr val="F8F8F8"/>
                </a:solidFill>
              </a:rPr>
            </a:br>
            <a:r>
              <a:rPr lang="en-US" altLang="en-US" sz="1900" b="1">
                <a:solidFill>
                  <a:srgbClr val="F8F8F8"/>
                </a:solidFill>
              </a:rPr>
              <a:t>Executive Office of Health and Human Services</a:t>
            </a:r>
            <a:br>
              <a:rPr lang="en-US" altLang="en-US" sz="1900" b="1">
                <a:solidFill>
                  <a:srgbClr val="F8F8F8"/>
                </a:solidFill>
              </a:rPr>
            </a:br>
            <a:br>
              <a:rPr lang="en-US" altLang="en-US" sz="1900" b="1">
                <a:solidFill>
                  <a:srgbClr val="F8F8F8"/>
                </a:solidFill>
              </a:rPr>
            </a:br>
            <a:endParaRPr lang="en-US" sz="2800" b="1">
              <a:solidFill>
                <a:srgbClr val="F8F8F8"/>
              </a:solidFill>
            </a:endParaRPr>
          </a:p>
        </p:txBody>
      </p:sp>
      <p:pic>
        <p:nvPicPr>
          <p:cNvPr id="6" name="Picture 5"/>
          <p:cNvPicPr>
            <a:picLocks noChangeAspect="1"/>
          </p:cNvPicPr>
          <p:nvPr userDrawn="1"/>
        </p:nvPicPr>
        <p:blipFill>
          <a:blip r:embed="rId3"/>
          <a:stretch>
            <a:fillRect/>
          </a:stretch>
        </p:blipFill>
        <p:spPr>
          <a:xfrm>
            <a:off x="7189955" y="457200"/>
            <a:ext cx="1934480" cy="1934480"/>
          </a:xfrm>
          <a:prstGeom prst="rect">
            <a:avLst/>
          </a:prstGeom>
        </p:spPr>
      </p:pic>
    </p:spTree>
    <p:extLst>
      <p:ext uri="{BB962C8B-B14F-4D97-AF65-F5344CB8AC3E}">
        <p14:creationId xmlns:p14="http://schemas.microsoft.com/office/powerpoint/2010/main" val="426372911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38696606"/>
              </p:ext>
            </p:extLst>
          </p:nvPr>
        </p:nvGraphicFramePr>
        <p:xfrm>
          <a:off x="1665" y="1665"/>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5" y="166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1298"/>
            <a:ext cx="5036085"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p:nvPr>
        </p:nvSpPr>
        <p:spPr bwMode="auto">
          <a:xfrm>
            <a:off x="2693840" y="2648285"/>
            <a:ext cx="5539245" cy="507831"/>
          </a:xfrm>
          <a:prstGeom prst="rect">
            <a:avLst/>
          </a:prstGeom>
        </p:spPr>
        <p:txBody>
          <a:bodyPr anchor="b">
            <a:spAutoFit/>
          </a:bodyPr>
          <a:lstStyle>
            <a:lvl1pPr>
              <a:defRPr sz="3265"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840" y="3770660"/>
            <a:ext cx="5539245" cy="219820"/>
          </a:xfrm>
        </p:spPr>
        <p:txBody>
          <a:bodyPr>
            <a:spAutoFit/>
          </a:bodyPr>
          <a:lstStyle>
            <a:lvl1pPr>
              <a:defRPr sz="1428"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125668" y="3246013"/>
            <a:ext cx="2293946"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1" y="3245986"/>
            <a:ext cx="2125653"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3886006" y="3246012"/>
            <a:ext cx="5257994"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70" y="202964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1067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20137329"/>
              </p:ext>
            </p:extLst>
          </p:nvPr>
        </p:nvGraphicFramePr>
        <p:xfrm>
          <a:off x="1665" y="1665"/>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5" y="166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1298"/>
            <a:ext cx="5036085"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592295" y="2591192"/>
            <a:ext cx="5539245" cy="507831"/>
          </a:xfrm>
          <a:prstGeom prst="rect">
            <a:avLst/>
          </a:prstGeom>
        </p:spPr>
        <p:txBody>
          <a:bodyPr anchor="b">
            <a:spAutoFit/>
          </a:bodyPr>
          <a:lstStyle>
            <a:lvl1pPr>
              <a:defRPr sz="3265" b="0" baseline="0">
                <a:latin typeface="+mj-lt"/>
                <a:ea typeface="+mj-ea"/>
              </a:defRPr>
            </a:lvl1pPr>
          </a:lstStyle>
          <a:p>
            <a:pPr lvl="0"/>
            <a:r>
              <a:rPr lang="en-US" noProof="0"/>
              <a:t>Title</a:t>
            </a:r>
          </a:p>
        </p:txBody>
      </p:sp>
      <p:sp>
        <p:nvSpPr>
          <p:cNvPr id="12" name="TitleTopPlaceholder"/>
          <p:cNvSpPr>
            <a:spLocks noChangeArrowheads="1"/>
          </p:cNvSpPr>
          <p:nvPr/>
        </p:nvSpPr>
        <p:spPr bwMode="ltGray">
          <a:xfrm>
            <a:off x="2125668" y="3246013"/>
            <a:ext cx="2293946"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1" y="3245986"/>
            <a:ext cx="2125653"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3886006" y="3246012"/>
            <a:ext cx="5257994"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pic>
        <p:nvPicPr>
          <p:cNvPr id="16" name="Picture 4" descr="http://upload.wikimedia.org/wikipedia/commons/thumb/8/82/Seal_of_Massachusetts.svg/2000px-Seal_of_Massachusetts.svg.png"/>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7033018"/>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32" y="163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69759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72826375"/>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632" y="1632"/>
                        <a:ext cx="1587" cy="1587"/>
                      </a:xfrm>
                      <a:prstGeom prst="rect">
                        <a:avLst/>
                      </a:prstGeom>
                    </p:spPr>
                  </p:pic>
                </p:oleObj>
              </mc:Fallback>
            </mc:AlternateContent>
          </a:graphicData>
        </a:graphic>
      </p:graphicFrame>
      <p:sp>
        <p:nvSpPr>
          <p:cNvPr id="4" name="Holder 2"/>
          <p:cNvSpPr>
            <a:spLocks noGrp="1"/>
          </p:cNvSpPr>
          <p:nvPr>
            <p:ph type="title"/>
          </p:nvPr>
        </p:nvSpPr>
        <p:spPr>
          <a:xfrm>
            <a:off x="259090" y="252471"/>
            <a:ext cx="8053675" cy="298327"/>
          </a:xfrm>
        </p:spPr>
        <p:txBody>
          <a:bodyPr lIns="0" tIns="0" rIns="0" bIns="0"/>
          <a:lstStyle/>
          <a:p>
            <a:endParaRPr/>
          </a:p>
        </p:txBody>
      </p:sp>
    </p:spTree>
    <p:extLst>
      <p:ext uri="{BB962C8B-B14F-4D97-AF65-F5344CB8AC3E}">
        <p14:creationId xmlns:p14="http://schemas.microsoft.com/office/powerpoint/2010/main" val="20325503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91901367"/>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1632" y="1632"/>
                        <a:ext cx="1587"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259081" y="908025"/>
            <a:ext cx="8077200" cy="1240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Tree>
    <p:extLst>
      <p:ext uri="{BB962C8B-B14F-4D97-AF65-F5344CB8AC3E}">
        <p14:creationId xmlns:p14="http://schemas.microsoft.com/office/powerpoint/2010/main" val="154862380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ags" Target="../tags/tag3.xml"/><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slideLayout" Target="../slideLayouts/slideLayout5.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5" Type="http://schemas.openxmlformats.org/officeDocument/2006/relationships/image" Target="../media/image6.png"/><Relationship Id="rId2" Type="http://schemas.openxmlformats.org/officeDocument/2006/relationships/slideLayout" Target="../slideLayouts/slideLayout4.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3.xml"/><Relationship Id="rId6" Type="http://schemas.openxmlformats.org/officeDocument/2006/relationships/theme" Target="../theme/theme2.xml"/><Relationship Id="rId11" Type="http://schemas.openxmlformats.org/officeDocument/2006/relationships/tags" Target="../tags/tag8.xml"/><Relationship Id="rId24" Type="http://schemas.openxmlformats.org/officeDocument/2006/relationships/image" Target="../media/image5.emf"/><Relationship Id="rId5" Type="http://schemas.openxmlformats.org/officeDocument/2006/relationships/slideLayout" Target="../slideLayouts/slideLayout7.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slideLayout" Target="../slideLayouts/slideLayout6.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top blue"/>
          <p:cNvPicPr>
            <a:picLocks noChangeAspect="1" noChangeArrowheads="1"/>
          </p:cNvPicPr>
          <p:nvPr/>
        </p:nvPicPr>
        <p:blipFill>
          <a:blip r:embed="rId6"/>
          <a:srcRect l="23065"/>
          <a:stretch>
            <a:fillRect/>
          </a:stretch>
        </p:blipFill>
        <p:spPr bwMode="auto">
          <a:xfrm>
            <a:off x="0" y="0"/>
            <a:ext cx="9150350" cy="930275"/>
          </a:xfrm>
          <a:prstGeom prst="rect">
            <a:avLst/>
          </a:prstGeom>
          <a:noFill/>
          <a:ln w="9525">
            <a:noFill/>
            <a:miter lim="800000"/>
            <a:headEnd/>
            <a:tailEnd/>
          </a:ln>
        </p:spPr>
      </p:pic>
      <p:sp>
        <p:nvSpPr>
          <p:cNvPr id="1027"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28"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a:solidFill>
                <a:srgbClr val="000000"/>
              </a:solidFill>
            </a:endParaRPr>
          </a:p>
        </p:txBody>
      </p:sp>
      <p:pic>
        <p:nvPicPr>
          <p:cNvPr id="1030" name="Picture 6" descr="best ver2b seal"/>
          <p:cNvPicPr>
            <a:picLocks noChangeAspect="1" noChangeArrowheads="1"/>
          </p:cNvPicPr>
          <p:nvPr/>
        </p:nvPicPr>
        <p:blipFill>
          <a:blip r:embed="rId7">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5" name="Text Box 9"/>
          <p:cNvSpPr txBox="1">
            <a:spLocks noChangeArrowheads="1"/>
          </p:cNvSpPr>
          <p:nvPr/>
        </p:nvSpPr>
        <p:spPr bwMode="auto">
          <a:xfrm>
            <a:off x="4038600" y="6613525"/>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74C11B1E-D27A-4545-9113-CFB59631C2EA}" type="slidenum">
              <a:rPr lang="en-US" sz="1000">
                <a:solidFill>
                  <a:srgbClr val="000000"/>
                </a:solidFill>
              </a:rPr>
              <a:pPr algn="ctr" eaLnBrk="0" fontAlgn="base" hangingPunct="0">
                <a:spcBef>
                  <a:spcPct val="50000"/>
                </a:spcBef>
                <a:spcAft>
                  <a:spcPct val="0"/>
                </a:spcAft>
                <a:defRPr/>
              </a:pPr>
              <a:t>‹#›</a:t>
            </a:fld>
            <a:endParaRPr lang="en-US" sz="1000">
              <a:solidFill>
                <a:srgbClr val="000000"/>
              </a:solidFill>
            </a:endParaRPr>
          </a:p>
        </p:txBody>
      </p:sp>
      <p:sp>
        <p:nvSpPr>
          <p:cNvPr id="3198987" name="AcnSubjectTitle_ID_3198987" hidden="1"/>
          <p:cNvSpPr txBox="1">
            <a:spLocks noChangeArrowheads="1"/>
          </p:cNvSpPr>
          <p:nvPr>
            <p:custDataLst>
              <p:tags r:id="rId4"/>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a:solidFill>
                  <a:srgbClr val="000000"/>
                </a:solidFill>
              </a:rPr>
              <a:t>Subject Title</a:t>
            </a:r>
          </a:p>
        </p:txBody>
      </p:sp>
      <p:sp>
        <p:nvSpPr>
          <p:cNvPr id="3198988" name="AcnFootnote_ID_3198988" hidden="1"/>
          <p:cNvSpPr txBox="1">
            <a:spLocks noChangeArrowheads="1"/>
          </p:cNvSpPr>
          <p:nvPr>
            <p:custDataLst>
              <p:tags r:id="rId5"/>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a:solidFill>
                  <a:srgbClr val="000000"/>
                </a:solidFill>
              </a:rPr>
              <a:t>*	Footnote</a:t>
            </a:r>
          </a:p>
          <a:p>
            <a:pPr marL="538163" indent="-538163" fontAlgn="base">
              <a:spcBef>
                <a:spcPct val="20000"/>
              </a:spcBef>
              <a:spcAft>
                <a:spcPct val="0"/>
              </a:spcAft>
              <a:buClr>
                <a:srgbClr val="000000"/>
              </a:buClr>
              <a:defRPr/>
            </a:pPr>
            <a:r>
              <a:rPr lang="en-US" sz="1000">
                <a:solidFill>
                  <a:srgbClr val="000000"/>
                </a:solidFill>
              </a:rPr>
              <a:t>Source:	Source</a:t>
            </a:r>
          </a:p>
        </p:txBody>
      </p:sp>
    </p:spTree>
    <p:extLst>
      <p:ext uri="{BB962C8B-B14F-4D97-AF65-F5344CB8AC3E}">
        <p14:creationId xmlns:p14="http://schemas.microsoft.com/office/powerpoint/2010/main" val="1838582338"/>
      </p:ext>
    </p:extLst>
  </p:cSld>
  <p:clrMap bg1="lt1" tx1="dk1" bg2="lt2" tx2="dk2" accent1="accent1" accent2="accent2" accent3="accent3" accent4="accent4" accent5="accent5" accent6="accent6" hlink="hlink" folHlink="folHlink"/>
  <p:sldLayoutIdLst>
    <p:sldLayoutId id="2147483664" r:id="rId1"/>
    <p:sldLayoutId id="2147483665" r:id="rId2"/>
  </p:sldLayoutIdLst>
  <p:transition/>
  <p:txStyles>
    <p:titleStyle>
      <a:lvl1pPr algn="l" rtl="0" eaLnBrk="1" fontAlgn="base" hangingPunct="1">
        <a:spcBef>
          <a:spcPct val="20000"/>
        </a:spcBef>
        <a:spcAft>
          <a:spcPct val="0"/>
        </a:spcAft>
        <a:tabLst>
          <a:tab pos="915988" algn="l"/>
        </a:tabLst>
        <a:defRPr sz="2400" b="1">
          <a:solidFill>
            <a:srgbClr val="FFC000"/>
          </a:solidFill>
          <a:latin typeface="+mj-lt"/>
          <a:ea typeface="+mj-ea"/>
          <a:cs typeface="+mj-cs"/>
        </a:defRPr>
      </a:lvl1pPr>
      <a:lvl2pPr algn="l" rtl="0" eaLnBrk="1" fontAlgn="base" hangingPunct="1">
        <a:spcBef>
          <a:spcPct val="20000"/>
        </a:spcBef>
        <a:spcAft>
          <a:spcPct val="0"/>
        </a:spcAft>
        <a:tabLst>
          <a:tab pos="915988" algn="l"/>
        </a:tabLst>
        <a:defRPr sz="2400" b="1">
          <a:solidFill>
            <a:srgbClr val="FFC000"/>
          </a:solidFill>
          <a:latin typeface="Arial" pitchFamily="34" charset="0"/>
        </a:defRPr>
      </a:lvl2pPr>
      <a:lvl3pPr algn="l" rtl="0" eaLnBrk="1" fontAlgn="base" hangingPunct="1">
        <a:spcBef>
          <a:spcPct val="20000"/>
        </a:spcBef>
        <a:spcAft>
          <a:spcPct val="0"/>
        </a:spcAft>
        <a:tabLst>
          <a:tab pos="915988" algn="l"/>
        </a:tabLst>
        <a:defRPr sz="2400" b="1">
          <a:solidFill>
            <a:srgbClr val="FFC000"/>
          </a:solidFill>
          <a:latin typeface="Arial" pitchFamily="34" charset="0"/>
        </a:defRPr>
      </a:lvl3pPr>
      <a:lvl4pPr algn="l" rtl="0" eaLnBrk="1" fontAlgn="base" hangingPunct="1">
        <a:spcBef>
          <a:spcPct val="20000"/>
        </a:spcBef>
        <a:spcAft>
          <a:spcPct val="0"/>
        </a:spcAft>
        <a:tabLst>
          <a:tab pos="915988" algn="l"/>
        </a:tabLst>
        <a:defRPr sz="2400" b="1">
          <a:solidFill>
            <a:srgbClr val="FFC000"/>
          </a:solidFill>
          <a:latin typeface="Arial" pitchFamily="34" charset="0"/>
        </a:defRPr>
      </a:lvl4pPr>
      <a:lvl5pPr algn="l" rtl="0" eaLnBrk="1" fontAlgn="base" hangingPunct="1">
        <a:spcBef>
          <a:spcPct val="20000"/>
        </a:spcBef>
        <a:spcAft>
          <a:spcPct val="0"/>
        </a:spcAft>
        <a:tabLst>
          <a:tab pos="915988" algn="l"/>
        </a:tabLst>
        <a:defRPr sz="2400" b="1">
          <a:solidFill>
            <a:srgbClr val="FFC000"/>
          </a:solidFill>
          <a:latin typeface="Arial" pitchFamily="34" charset="0"/>
        </a:defRPr>
      </a:lvl5pPr>
      <a:lvl6pPr marL="457200" algn="l" rtl="0" eaLnBrk="1" fontAlgn="base" hangingPunct="1">
        <a:spcBef>
          <a:spcPct val="20000"/>
        </a:spcBef>
        <a:spcAft>
          <a:spcPct val="0"/>
        </a:spcAft>
        <a:tabLst>
          <a:tab pos="915988" algn="l"/>
        </a:tabLst>
        <a:defRPr sz="2400" b="1">
          <a:solidFill>
            <a:schemeClr val="accent1"/>
          </a:solidFill>
          <a:latin typeface="Arial" pitchFamily="34" charset="0"/>
        </a:defRPr>
      </a:lvl6pPr>
      <a:lvl7pPr marL="914400" algn="l" rtl="0" eaLnBrk="1" fontAlgn="base" hangingPunct="1">
        <a:spcBef>
          <a:spcPct val="20000"/>
        </a:spcBef>
        <a:spcAft>
          <a:spcPct val="0"/>
        </a:spcAft>
        <a:tabLst>
          <a:tab pos="915988" algn="l"/>
        </a:tabLst>
        <a:defRPr sz="2400" b="1">
          <a:solidFill>
            <a:schemeClr val="accent1"/>
          </a:solidFill>
          <a:latin typeface="Arial" pitchFamily="34" charset="0"/>
        </a:defRPr>
      </a:lvl7pPr>
      <a:lvl8pPr marL="1371600" algn="l" rtl="0" eaLnBrk="1" fontAlgn="base" hangingPunct="1">
        <a:spcBef>
          <a:spcPct val="20000"/>
        </a:spcBef>
        <a:spcAft>
          <a:spcPct val="0"/>
        </a:spcAft>
        <a:tabLst>
          <a:tab pos="915988" algn="l"/>
        </a:tabLst>
        <a:defRPr sz="2400" b="1">
          <a:solidFill>
            <a:schemeClr val="accent1"/>
          </a:solidFill>
          <a:latin typeface="Arial" pitchFamily="34" charset="0"/>
        </a:defRPr>
      </a:lvl8pPr>
      <a:lvl9pPr marL="1828800" algn="l" rtl="0" eaLnBrk="1" fontAlgn="base" hangingPunct="1">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1" fontAlgn="base" hangingPunct="1">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1" fontAlgn="base" hangingPunct="1">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7378758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22" y="6565686"/>
            <a:ext cx="9162288" cy="301752"/>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grpSp>
      <p:sp>
        <p:nvSpPr>
          <p:cNvPr id="1036" name="Rectangle 286"/>
          <p:cNvSpPr>
            <a:spLocks noGrp="1" noChangeArrowheads="1"/>
          </p:cNvSpPr>
          <p:nvPr>
            <p:ph type="body" idx="1"/>
          </p:nvPr>
        </p:nvSpPr>
        <p:spPr bwMode="auto">
          <a:xfrm>
            <a:off x="1482160" y="1990681"/>
            <a:ext cx="4389768" cy="15701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59090" y="25247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74944" y="27536"/>
            <a:ext cx="894706"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28">
                <a:solidFill>
                  <a:srgbClr val="808080"/>
                </a:solidFill>
              </a:rPr>
              <a:t>TRACKER</a:t>
            </a:r>
          </a:p>
        </p:txBody>
      </p:sp>
      <p:sp>
        <p:nvSpPr>
          <p:cNvPr id="11" name="McK 3. Unit of measure" hidden="1"/>
          <p:cNvSpPr txBox="1">
            <a:spLocks noChangeArrowheads="1"/>
          </p:cNvSpPr>
          <p:nvPr/>
        </p:nvSpPr>
        <p:spPr bwMode="auto">
          <a:xfrm>
            <a:off x="174944" y="542633"/>
            <a:ext cx="805367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32">
                <a:solidFill>
                  <a:srgbClr val="808080"/>
                </a:solidFill>
                <a:latin typeface="Arial"/>
              </a:rPr>
              <a:t>Unit of measure</a:t>
            </a:r>
          </a:p>
        </p:txBody>
      </p:sp>
      <p:grpSp>
        <p:nvGrpSpPr>
          <p:cNvPr id="12" name="McK Slide Elements" hidden="1"/>
          <p:cNvGrpSpPr>
            <a:grpSpLocks/>
          </p:cNvGrpSpPr>
          <p:nvPr/>
        </p:nvGrpSpPr>
        <p:grpSpPr bwMode="auto">
          <a:xfrm>
            <a:off x="174965" y="6083194"/>
            <a:ext cx="8799129" cy="416275"/>
            <a:chOff x="75" y="3893"/>
            <a:chExt cx="689" cy="257"/>
          </a:xfrm>
        </p:grpSpPr>
        <p:sp>
          <p:nvSpPr>
            <p:cNvPr id="13" name="McK 4. Footnote"/>
            <p:cNvSpPr txBox="1">
              <a:spLocks noChangeArrowheads="1"/>
            </p:cNvSpPr>
            <p:nvPr/>
          </p:nvSpPr>
          <p:spPr bwMode="auto">
            <a:xfrm>
              <a:off x="75" y="3893"/>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a:solidFill>
                    <a:srgbClr val="000000"/>
                  </a:solidFill>
                  <a:latin typeface="Arial"/>
                </a:rPr>
                <a:t>1 Footnote</a:t>
              </a:r>
            </a:p>
          </p:txBody>
        </p:sp>
        <p:sp>
          <p:nvSpPr>
            <p:cNvPr id="14" name="McK 5. Source"/>
            <p:cNvSpPr>
              <a:spLocks noChangeArrowheads="1"/>
            </p:cNvSpPr>
            <p:nvPr/>
          </p:nvSpPr>
          <p:spPr bwMode="auto">
            <a:xfrm>
              <a:off x="75" y="4051"/>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48" indent="-619148" defTabSz="909370" fontAlgn="base">
                <a:spcBef>
                  <a:spcPct val="0"/>
                </a:spcBef>
                <a:spcAft>
                  <a:spcPct val="0"/>
                </a:spcAft>
                <a:tabLst>
                  <a:tab pos="622369" algn="l"/>
                </a:tabLst>
              </a:pPr>
              <a:r>
                <a:rPr lang="en-US" sz="1020">
                  <a:solidFill>
                    <a:srgbClr val="000000"/>
                  </a:solidFill>
                </a:rPr>
                <a:t>SOURCE: Source</a:t>
              </a:r>
            </a:p>
          </p:txBody>
        </p:sp>
      </p:grpSp>
      <p:grpSp>
        <p:nvGrpSpPr>
          <p:cNvPr id="15" name="ACET" hidden="1"/>
          <p:cNvGrpSpPr>
            <a:grpSpLocks/>
          </p:cNvGrpSpPr>
          <p:nvPr/>
        </p:nvGrpSpPr>
        <p:grpSpPr bwMode="auto">
          <a:xfrm>
            <a:off x="1482165" y="1137061"/>
            <a:ext cx="4350892"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32" b="1">
                  <a:solidFill>
                    <a:srgbClr val="000000"/>
                  </a:solidFill>
                </a:rPr>
                <a:t>Title</a:t>
              </a:r>
            </a:p>
            <a:p>
              <a:pPr fontAlgn="base">
                <a:spcBef>
                  <a:spcPct val="0"/>
                </a:spcBef>
                <a:spcAft>
                  <a:spcPct val="0"/>
                </a:spcAft>
              </a:pPr>
              <a:r>
                <a:rPr lang="en-US" sz="1632">
                  <a:solidFill>
                    <a:srgbClr val="808080"/>
                  </a:solidFill>
                </a:rPr>
                <a:t>Unit of measure</a:t>
              </a:r>
            </a:p>
          </p:txBody>
        </p:sp>
      </p:grpSp>
      <p:grpSp>
        <p:nvGrpSpPr>
          <p:cNvPr id="63" name="LegendBoxes" hidden="1"/>
          <p:cNvGrpSpPr>
            <a:grpSpLocks/>
          </p:cNvGrpSpPr>
          <p:nvPr/>
        </p:nvGrpSpPr>
        <p:grpSpPr bwMode="auto">
          <a:xfrm>
            <a:off x="7449477" y="275481"/>
            <a:ext cx="788863" cy="1022061"/>
            <a:chOff x="4936" y="176"/>
            <a:chExt cx="487" cy="631"/>
          </a:xfrm>
        </p:grpSpPr>
        <p:sp>
          <p:nvSpPr>
            <p:cNvPr id="64"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66"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68"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70"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72" name="LegendLines" hidden="1"/>
          <p:cNvGrpSpPr>
            <a:grpSpLocks/>
          </p:cNvGrpSpPr>
          <p:nvPr/>
        </p:nvGrpSpPr>
        <p:grpSpPr bwMode="auto">
          <a:xfrm>
            <a:off x="7135270" y="275459"/>
            <a:ext cx="1103112" cy="749943"/>
            <a:chOff x="4750" y="176"/>
            <a:chExt cx="681" cy="463"/>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6"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7"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8"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grpSp>
      <p:grpSp>
        <p:nvGrpSpPr>
          <p:cNvPr id="79" name="McKSticker" hidden="1"/>
          <p:cNvGrpSpPr/>
          <p:nvPr/>
        </p:nvGrpSpPr>
        <p:grpSpPr bwMode="auto">
          <a:xfrm>
            <a:off x="7118798" y="275439"/>
            <a:ext cx="1109828" cy="220474"/>
            <a:chOff x="7653105" y="285750"/>
            <a:chExt cx="1087670" cy="216085"/>
          </a:xfrm>
        </p:grpSpPr>
        <p:sp>
          <p:nvSpPr>
            <p:cNvPr id="80" name="StickerRectangle"/>
            <p:cNvSpPr>
              <a:spLocks noChangeArrowheads="1"/>
            </p:cNvSpPr>
            <p:nvPr/>
          </p:nvSpPr>
          <p:spPr bwMode="auto">
            <a:xfrm>
              <a:off x="7653105" y="285750"/>
              <a:ext cx="1087670" cy="2160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9466" fontAlgn="base">
                <a:spcBef>
                  <a:spcPct val="0"/>
                </a:spcBef>
                <a:spcAft>
                  <a:spcPct val="0"/>
                </a:spcAft>
                <a:buClr>
                  <a:srgbClr val="000000"/>
                </a:buClr>
              </a:pPr>
              <a:r>
                <a:rPr lang="en-US" sz="1224">
                  <a:solidFill>
                    <a:srgbClr val="808080"/>
                  </a:solidFill>
                </a:rPr>
                <a:t>PRELIMINARY</a:t>
              </a:r>
            </a:p>
          </p:txBody>
        </p:sp>
        <p:cxnSp>
          <p:nvCxnSpPr>
            <p:cNvPr id="81" name="AutoShape 31"/>
            <p:cNvCxnSpPr>
              <a:cxnSpLocks noChangeShapeType="1"/>
              <a:stCxn id="80" idx="2"/>
              <a:endCxn id="80" idx="4"/>
            </p:cNvCxnSpPr>
            <p:nvPr/>
          </p:nvCxnSpPr>
          <p:spPr bwMode="auto">
            <a:xfrm>
              <a:off x="7653105" y="285750"/>
              <a:ext cx="0" cy="21608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53105" y="501835"/>
              <a:ext cx="10876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57161" cy="1333054"/>
            <a:chOff x="6655594" y="273840"/>
            <a:chExt cx="840048" cy="1306516"/>
          </a:xfrm>
        </p:grpSpPr>
        <p:grpSp>
          <p:nvGrpSpPr>
            <p:cNvPr id="84" name="MoonLegend1"/>
            <p:cNvGrpSpPr>
              <a:grpSpLocks noChangeAspect="1"/>
            </p:cNvGrpSpPr>
            <p:nvPr>
              <p:custDataLst>
                <p:tags r:id="rId8"/>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103"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5" name="MoonLegend2"/>
            <p:cNvGrpSpPr>
              <a:grpSpLocks noChangeAspect="1"/>
            </p:cNvGrpSpPr>
            <p:nvPr>
              <p:custDataLst>
                <p:tags r:id="rId9"/>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101"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6" name="MoonLegend4"/>
            <p:cNvGrpSpPr>
              <a:grpSpLocks noChangeAspect="1"/>
            </p:cNvGrpSpPr>
            <p:nvPr>
              <p:custDataLst>
                <p:tags r:id="rId10"/>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9"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7" name="MoonLegend5"/>
            <p:cNvGrpSpPr>
              <a:grpSpLocks noChangeAspect="1"/>
            </p:cNvGrpSpPr>
            <p:nvPr>
              <p:custDataLst>
                <p:tags r:id="rId11"/>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7"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sp>
          <p:nvSpPr>
            <p:cNvPr id="88"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89"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0"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1"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2"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grpSp>
          <p:nvGrpSpPr>
            <p:cNvPr id="93" name="MoonLegend3"/>
            <p:cNvGrpSpPr>
              <a:grpSpLocks noChangeAspect="1"/>
            </p:cNvGrpSpPr>
            <p:nvPr>
              <p:custDataLst>
                <p:tags r:id="rId12"/>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5"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sp>
        <p:nvSpPr>
          <p:cNvPr id="104" name="Slide Number"/>
          <p:cNvSpPr txBox="1">
            <a:spLocks/>
          </p:cNvSpPr>
          <p:nvPr/>
        </p:nvSpPr>
        <p:spPr bwMode="auto">
          <a:xfrm>
            <a:off x="8807126" y="6631766"/>
            <a:ext cx="161931" cy="16015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20" smtClean="0">
                <a:solidFill>
                  <a:srgbClr val="FFFFFF"/>
                </a:solidFill>
              </a:rPr>
              <a:pPr algn="r" fontAlgn="base">
                <a:spcBef>
                  <a:spcPct val="0"/>
                </a:spcBef>
                <a:spcAft>
                  <a:spcPct val="0"/>
                </a:spcAft>
              </a:pPr>
              <a:t>‹#›</a:t>
            </a:fld>
            <a:endParaRPr lang="en-US" sz="102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A200752F-0FC0-452E-8D30-39C4B28B39FF}"/>
              </a:ext>
            </a:extLst>
          </p:cNvPr>
          <p:cNvSpPr txBox="1"/>
          <p:nvPr userDrawn="1"/>
        </p:nvSpPr>
        <p:spPr>
          <a:xfrm>
            <a:off x="6092137" y="6385458"/>
            <a:ext cx="311649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latin typeface="Arial"/>
              </a:rPr>
              <a:t>* Confidential – for policy development purposes only   |</a:t>
            </a:r>
          </a:p>
        </p:txBody>
      </p:sp>
    </p:spTree>
    <p:extLst>
      <p:ext uri="{BB962C8B-B14F-4D97-AF65-F5344CB8AC3E}">
        <p14:creationId xmlns:p14="http://schemas.microsoft.com/office/powerpoint/2010/main" val="257185683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Lst>
  <p:hf hdr="0" ftr="0" dt="0"/>
  <p:txStyles>
    <p:titleStyle>
      <a:lvl1pPr algn="l" defTabSz="909370" rtl="0" eaLnBrk="1" fontAlgn="base" hangingPunct="1">
        <a:spcBef>
          <a:spcPct val="0"/>
        </a:spcBef>
        <a:spcAft>
          <a:spcPct val="0"/>
        </a:spcAft>
        <a:tabLst>
          <a:tab pos="274101" algn="l"/>
        </a:tabLst>
        <a:defRPr sz="1939" b="1" baseline="0">
          <a:solidFill>
            <a:schemeClr val="tx2"/>
          </a:solidFill>
          <a:latin typeface="+mj-lt"/>
          <a:ea typeface="+mj-ea"/>
          <a:cs typeface="+mj-cs"/>
        </a:defRPr>
      </a:lvl1pPr>
      <a:lvl2pPr algn="l" defTabSz="909370" rtl="0" eaLnBrk="1" fontAlgn="base" hangingPunct="1">
        <a:spcBef>
          <a:spcPct val="0"/>
        </a:spcBef>
        <a:spcAft>
          <a:spcPct val="0"/>
        </a:spcAft>
        <a:defRPr sz="1939" b="1">
          <a:solidFill>
            <a:schemeClr val="tx2"/>
          </a:solidFill>
          <a:latin typeface="Arial" charset="0"/>
        </a:defRPr>
      </a:lvl2pPr>
      <a:lvl3pPr algn="l" defTabSz="909370" rtl="0" eaLnBrk="1" fontAlgn="base" hangingPunct="1">
        <a:spcBef>
          <a:spcPct val="0"/>
        </a:spcBef>
        <a:spcAft>
          <a:spcPct val="0"/>
        </a:spcAft>
        <a:defRPr sz="1939" b="1">
          <a:solidFill>
            <a:schemeClr val="tx2"/>
          </a:solidFill>
          <a:latin typeface="Arial" charset="0"/>
        </a:defRPr>
      </a:lvl3pPr>
      <a:lvl4pPr algn="l" defTabSz="909370" rtl="0" eaLnBrk="1" fontAlgn="base" hangingPunct="1">
        <a:spcBef>
          <a:spcPct val="0"/>
        </a:spcBef>
        <a:spcAft>
          <a:spcPct val="0"/>
        </a:spcAft>
        <a:defRPr sz="1939" b="1">
          <a:solidFill>
            <a:schemeClr val="tx2"/>
          </a:solidFill>
          <a:latin typeface="Arial" charset="0"/>
        </a:defRPr>
      </a:lvl4pPr>
      <a:lvl5pPr algn="l" defTabSz="909370" rtl="0" eaLnBrk="1" fontAlgn="base" hangingPunct="1">
        <a:spcBef>
          <a:spcPct val="0"/>
        </a:spcBef>
        <a:spcAft>
          <a:spcPct val="0"/>
        </a:spcAft>
        <a:defRPr sz="1939" b="1">
          <a:solidFill>
            <a:schemeClr val="tx2"/>
          </a:solidFill>
          <a:latin typeface="Arial" charset="0"/>
        </a:defRPr>
      </a:lvl5pPr>
      <a:lvl6pPr marL="464331" algn="l" defTabSz="909370" rtl="0" eaLnBrk="1" fontAlgn="base" hangingPunct="1">
        <a:spcBef>
          <a:spcPct val="0"/>
        </a:spcBef>
        <a:spcAft>
          <a:spcPct val="0"/>
        </a:spcAft>
        <a:defRPr sz="1939" b="1">
          <a:solidFill>
            <a:schemeClr val="tx2"/>
          </a:solidFill>
          <a:latin typeface="Arial" charset="0"/>
        </a:defRPr>
      </a:lvl6pPr>
      <a:lvl7pPr marL="928718" algn="l" defTabSz="909370" rtl="0" eaLnBrk="1" fontAlgn="base" hangingPunct="1">
        <a:spcBef>
          <a:spcPct val="0"/>
        </a:spcBef>
        <a:spcAft>
          <a:spcPct val="0"/>
        </a:spcAft>
        <a:defRPr sz="1939" b="1">
          <a:solidFill>
            <a:schemeClr val="tx2"/>
          </a:solidFill>
          <a:latin typeface="Arial" charset="0"/>
        </a:defRPr>
      </a:lvl7pPr>
      <a:lvl8pPr marL="1393081" algn="l" defTabSz="909370" rtl="0" eaLnBrk="1" fontAlgn="base" hangingPunct="1">
        <a:spcBef>
          <a:spcPct val="0"/>
        </a:spcBef>
        <a:spcAft>
          <a:spcPct val="0"/>
        </a:spcAft>
        <a:defRPr sz="1939" b="1">
          <a:solidFill>
            <a:schemeClr val="tx2"/>
          </a:solidFill>
          <a:latin typeface="Arial" charset="0"/>
        </a:defRPr>
      </a:lvl8pPr>
      <a:lvl9pPr marL="1857437" algn="l" defTabSz="909370" rtl="0" eaLnBrk="1" fontAlgn="base" hangingPunct="1">
        <a:spcBef>
          <a:spcPct val="0"/>
        </a:spcBef>
        <a:spcAft>
          <a:spcPct val="0"/>
        </a:spcAft>
        <a:defRPr sz="1939" b="1">
          <a:solidFill>
            <a:schemeClr val="tx2"/>
          </a:solidFill>
          <a:latin typeface="Arial" charset="0"/>
        </a:defRPr>
      </a:lvl9pPr>
    </p:titleStyle>
    <p:bodyStyle>
      <a:lvl1pPr marL="0" indent="0" algn="l" defTabSz="909370" rtl="0" eaLnBrk="1" fontAlgn="base" hangingPunct="1">
        <a:spcBef>
          <a:spcPct val="0"/>
        </a:spcBef>
        <a:spcAft>
          <a:spcPts val="600"/>
        </a:spcAft>
        <a:buClr>
          <a:schemeClr val="tx2"/>
        </a:buClr>
        <a:defRPr sz="1632" baseline="0">
          <a:solidFill>
            <a:schemeClr val="tx1"/>
          </a:solidFill>
          <a:latin typeface="+mn-lt"/>
          <a:ea typeface="+mn-ea"/>
          <a:cs typeface="+mn-cs"/>
        </a:defRPr>
      </a:lvl1pPr>
      <a:lvl2pPr marL="196709" indent="-195099" algn="l" defTabSz="909370" rtl="0" eaLnBrk="1" fontAlgn="base" hangingPunct="1">
        <a:spcBef>
          <a:spcPct val="0"/>
        </a:spcBef>
        <a:spcAft>
          <a:spcPts val="600"/>
        </a:spcAft>
        <a:buClr>
          <a:schemeClr val="tx2"/>
        </a:buClr>
        <a:buSzPct val="125000"/>
        <a:buFont typeface="Arial" charset="0"/>
        <a:buChar char="▪"/>
        <a:defRPr sz="1632" baseline="0">
          <a:solidFill>
            <a:schemeClr val="tx1"/>
          </a:solidFill>
          <a:latin typeface="+mn-lt"/>
        </a:defRPr>
      </a:lvl2pPr>
      <a:lvl3pPr marL="464331" indent="-266041"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3pPr>
      <a:lvl4pPr marL="623983" indent="-158016"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4pPr>
      <a:lvl5pPr marL="761551" indent="-132213" algn="l" defTabSz="909370" rtl="0" eaLnBrk="1" fontAlgn="base" hangingPunct="1">
        <a:spcBef>
          <a:spcPct val="0"/>
        </a:spcBef>
        <a:spcAft>
          <a:spcPts val="600"/>
        </a:spcAft>
        <a:buClr>
          <a:schemeClr val="tx2"/>
        </a:buClr>
        <a:buSzPct val="89000"/>
        <a:buFont typeface="Arial" charset="0"/>
        <a:buChar char="-"/>
        <a:defRPr sz="1632" baseline="0">
          <a:solidFill>
            <a:schemeClr val="tx1"/>
          </a:solidFill>
          <a:latin typeface="+mn-lt"/>
        </a:defRPr>
      </a:lvl5pPr>
      <a:lvl6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28718" rtl="0" eaLnBrk="1" latinLnBrk="0" hangingPunct="1">
        <a:defRPr sz="1837" kern="1200">
          <a:solidFill>
            <a:schemeClr val="tx1"/>
          </a:solidFill>
          <a:latin typeface="+mn-lt"/>
          <a:ea typeface="+mn-ea"/>
          <a:cs typeface="+mn-cs"/>
        </a:defRPr>
      </a:lvl1pPr>
      <a:lvl2pPr marL="464331" algn="l" defTabSz="928718" rtl="0" eaLnBrk="1" latinLnBrk="0" hangingPunct="1">
        <a:defRPr sz="1837" kern="1200">
          <a:solidFill>
            <a:schemeClr val="tx1"/>
          </a:solidFill>
          <a:latin typeface="+mn-lt"/>
          <a:ea typeface="+mn-ea"/>
          <a:cs typeface="+mn-cs"/>
        </a:defRPr>
      </a:lvl2pPr>
      <a:lvl3pPr marL="928718" algn="l" defTabSz="928718" rtl="0" eaLnBrk="1" latinLnBrk="0" hangingPunct="1">
        <a:defRPr sz="1837" kern="1200">
          <a:solidFill>
            <a:schemeClr val="tx1"/>
          </a:solidFill>
          <a:latin typeface="+mn-lt"/>
          <a:ea typeface="+mn-ea"/>
          <a:cs typeface="+mn-cs"/>
        </a:defRPr>
      </a:lvl3pPr>
      <a:lvl4pPr marL="1393081" algn="l" defTabSz="928718" rtl="0" eaLnBrk="1" latinLnBrk="0" hangingPunct="1">
        <a:defRPr sz="1837" kern="1200">
          <a:solidFill>
            <a:schemeClr val="tx1"/>
          </a:solidFill>
          <a:latin typeface="+mn-lt"/>
          <a:ea typeface="+mn-ea"/>
          <a:cs typeface="+mn-cs"/>
        </a:defRPr>
      </a:lvl4pPr>
      <a:lvl5pPr marL="1857437" algn="l" defTabSz="928718" rtl="0" eaLnBrk="1" latinLnBrk="0" hangingPunct="1">
        <a:defRPr sz="1837" kern="1200">
          <a:solidFill>
            <a:schemeClr val="tx1"/>
          </a:solidFill>
          <a:latin typeface="+mn-lt"/>
          <a:ea typeface="+mn-ea"/>
          <a:cs typeface="+mn-cs"/>
        </a:defRPr>
      </a:lvl5pPr>
      <a:lvl6pPr marL="2321798" algn="l" defTabSz="928718" rtl="0" eaLnBrk="1" latinLnBrk="0" hangingPunct="1">
        <a:defRPr sz="1837" kern="1200">
          <a:solidFill>
            <a:schemeClr val="tx1"/>
          </a:solidFill>
          <a:latin typeface="+mn-lt"/>
          <a:ea typeface="+mn-ea"/>
          <a:cs typeface="+mn-cs"/>
        </a:defRPr>
      </a:lvl6pPr>
      <a:lvl7pPr marL="2786156" algn="l" defTabSz="928718" rtl="0" eaLnBrk="1" latinLnBrk="0" hangingPunct="1">
        <a:defRPr sz="1837" kern="1200">
          <a:solidFill>
            <a:schemeClr val="tx1"/>
          </a:solidFill>
          <a:latin typeface="+mn-lt"/>
          <a:ea typeface="+mn-ea"/>
          <a:cs typeface="+mn-cs"/>
        </a:defRPr>
      </a:lvl7pPr>
      <a:lvl8pPr marL="3250517" algn="l" defTabSz="928718" rtl="0" eaLnBrk="1" latinLnBrk="0" hangingPunct="1">
        <a:defRPr sz="1837" kern="1200">
          <a:solidFill>
            <a:schemeClr val="tx1"/>
          </a:solidFill>
          <a:latin typeface="+mn-lt"/>
          <a:ea typeface="+mn-ea"/>
          <a:cs typeface="+mn-cs"/>
        </a:defRPr>
      </a:lvl8pPr>
      <a:lvl9pPr marL="3714878" algn="l" defTabSz="928718" rtl="0" eaLnBrk="1" latinLnBrk="0" hangingPunct="1">
        <a:defRPr sz="183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2" Type="http://schemas.openxmlformats.org/officeDocument/2006/relationships/image" Target="../media/image17.tiff"/><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8.tiff"/><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19.tif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hyperlink" Target="https://www.shvs.org/resource/how-states-can-use-measurement-as-a-foundation-for-tackling-health-disparities-in-medicaid-managed-care/" TargetMode="External"/><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hyperlink" Target="https://www.michigan.gov/documents/mdhhs/2017_Medicaid_Health_Equity_Report_645736_7.pdf" TargetMode="External"/><Relationship Id="rId4" Type="http://schemas.openxmlformats.org/officeDocument/2006/relationships/hyperlink" Target="https://www.dhcs.ca.gov/dataandstats/reports/Documents/MMCD_Qual_Rpts/TechRpt/CA2016-17_EQR_Technical_Report_F1.pdf"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www.buyingvalue.org/measure-selection-tool-spreadsheet/" TargetMode="External"/><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hyperlink" Target="https://www.ahrq.gov/sites/default/files/wysiwyg/research/findings/nhqrdr/2018qdr-final.pdf"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www.cms.gov/files/document/20202021-quality-benchmarks.pdf" TargetMode="External"/><Relationship Id="rId2" Type="http://schemas.openxmlformats.org/officeDocument/2006/relationships/hyperlink" Target="https://www.medicaid.gov/federal-policy-guidance/downloads/cib111920.pdf" TargetMode="External"/><Relationship Id="rId1" Type="http://schemas.openxmlformats.org/officeDocument/2006/relationships/slideLayout" Target="../slideLayouts/slideLayout1.xml"/><Relationship Id="rId4" Type="http://schemas.openxmlformats.org/officeDocument/2006/relationships/hyperlink" Target="https://www.cms.gov/files/document/measures-under-consideration-list-2020-report.pdf"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hyperlink" Target="https://www.cdc.gov/nchs/data/misc/disability2001-2005.pdf" TargetMode="Externa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hyperlink" Target="mailto:jzayhowski@bailit-health.com" TargetMode="Externa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sz="quarter" idx="1"/>
          </p:nvPr>
        </p:nvSpPr>
        <p:spPr/>
        <p:txBody>
          <a:bodyPr>
            <a:normAutofit/>
          </a:bodyPr>
          <a:lstStyle/>
          <a:p>
            <a:pPr>
              <a:buNone/>
            </a:pPr>
            <a:r>
              <a:rPr lang="en-US" b="1" cap="all"/>
              <a:t>EOHHS Quality Measure alignment taskforce </a:t>
            </a:r>
          </a:p>
          <a:p>
            <a:endParaRPr lang="en-US"/>
          </a:p>
        </p:txBody>
      </p:sp>
      <p:sp>
        <p:nvSpPr>
          <p:cNvPr id="3" name="Text Placeholder 1"/>
          <p:cNvSpPr txBox="1">
            <a:spLocks/>
          </p:cNvSpPr>
          <p:nvPr/>
        </p:nvSpPr>
        <p:spPr>
          <a:xfrm>
            <a:off x="4515416" y="5943600"/>
            <a:ext cx="3923168" cy="533401"/>
          </a:xfrm>
          <a:prstGeom prst="rect">
            <a:avLst/>
          </a:prstGeom>
        </p:spPr>
        <p:txBody>
          <a:bodyPr>
            <a:normAutofit fontScale="62500" lnSpcReduction="20000"/>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lgn="ctr">
              <a:buNone/>
            </a:pPr>
            <a:r>
              <a:rPr lang="en-US"/>
              <a:t>Meeting #41</a:t>
            </a:r>
          </a:p>
          <a:p>
            <a:pPr marL="0" indent="0" algn="ctr">
              <a:buNone/>
            </a:pPr>
            <a:r>
              <a:rPr lang="en-US"/>
              <a:t>January 19, 2021</a:t>
            </a:r>
          </a:p>
        </p:txBody>
      </p:sp>
    </p:spTree>
    <p:extLst>
      <p:ext uri="{BB962C8B-B14F-4D97-AF65-F5344CB8AC3E}">
        <p14:creationId xmlns:p14="http://schemas.microsoft.com/office/powerpoint/2010/main" val="121025086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C5262-6267-4580-8D0B-C0D204E11121}"/>
              </a:ext>
            </a:extLst>
          </p:cNvPr>
          <p:cNvSpPr>
            <a:spLocks noGrp="1"/>
          </p:cNvSpPr>
          <p:nvPr>
            <p:ph type="title"/>
          </p:nvPr>
        </p:nvSpPr>
        <p:spPr/>
        <p:txBody>
          <a:bodyPr/>
          <a:lstStyle/>
          <a:p>
            <a:r>
              <a:rPr lang="en-US"/>
              <a:t>Quality Measure Catalogue: Background</a:t>
            </a:r>
          </a:p>
        </p:txBody>
      </p:sp>
      <p:sp>
        <p:nvSpPr>
          <p:cNvPr id="3" name="Content Placeholder 2">
            <a:extLst>
              <a:ext uri="{FF2B5EF4-FFF2-40B4-BE49-F238E27FC236}">
                <a16:creationId xmlns:a16="http://schemas.microsoft.com/office/drawing/2014/main" id="{1BB73685-6A28-40B8-8B66-E7647876478F}"/>
              </a:ext>
            </a:extLst>
          </p:cNvPr>
          <p:cNvSpPr>
            <a:spLocks noGrp="1"/>
          </p:cNvSpPr>
          <p:nvPr>
            <p:ph sz="half" idx="1"/>
          </p:nvPr>
        </p:nvSpPr>
        <p:spPr>
          <a:xfrm>
            <a:off x="568124" y="1417900"/>
            <a:ext cx="7476281" cy="5351688"/>
          </a:xfrm>
        </p:spPr>
        <p:txBody>
          <a:bodyPr/>
          <a:lstStyle/>
          <a:p>
            <a:r>
              <a:rPr lang="en-US" b="0"/>
              <a:t>In October 2020, the Taskforce issued a request for all Massachusetts commercial payers (N=12) to complete submissions to the Quality Measures Catalogue (QMC) by November 20, 2020.</a:t>
            </a:r>
          </a:p>
          <a:p>
            <a:pPr lvl="1"/>
            <a:r>
              <a:rPr lang="en-US" b="0"/>
              <a:t>Seven payers submitted responses to the QMC (</a:t>
            </a:r>
            <a:r>
              <a:rPr lang="en-US" b="0" err="1"/>
              <a:t>UniCare</a:t>
            </a:r>
            <a:r>
              <a:rPr lang="en-US" b="0"/>
              <a:t> were excluded from the analysis because they reported they do not use quality measures in their global budget contracts).</a:t>
            </a:r>
          </a:p>
          <a:p>
            <a:pPr lvl="1"/>
            <a:r>
              <a:rPr lang="en-US" b="0"/>
              <a:t>Four payers did not complete the QMC request (Aetna, Cigna, CCA, United, </a:t>
            </a:r>
            <a:r>
              <a:rPr lang="en-US" b="0" err="1"/>
              <a:t>AllWays</a:t>
            </a:r>
            <a:r>
              <a:rPr lang="en-US" b="0"/>
              <a:t>*).</a:t>
            </a:r>
            <a:endParaRPr lang="en-US" b="0" i="1"/>
          </a:p>
          <a:p>
            <a:pPr marL="346075" lvl="1" indent="0">
              <a:buNone/>
            </a:pPr>
            <a:r>
              <a:rPr lang="en-US" sz="1600" b="0" i="1"/>
              <a:t>*</a:t>
            </a:r>
            <a:r>
              <a:rPr lang="en-US" sz="1600" b="0" i="1" err="1"/>
              <a:t>AllWays</a:t>
            </a:r>
            <a:r>
              <a:rPr lang="en-US" sz="1600" b="0" i="1"/>
              <a:t> responded that 2021 contract negotiations were delayed due to COVID-19 so most contracts are not yet finalized. They will submit a response when they can, and Taskforce staff will share updated analysis at that time if </a:t>
            </a:r>
            <a:r>
              <a:rPr lang="en-US" sz="1600" b="0" i="1" err="1"/>
              <a:t>AllWays</a:t>
            </a:r>
            <a:r>
              <a:rPr lang="en-US" sz="1600" b="0" i="1"/>
              <a:t> reports use of quality measures in their global budget contracts.</a:t>
            </a:r>
          </a:p>
        </p:txBody>
      </p:sp>
    </p:spTree>
    <p:extLst>
      <p:ext uri="{BB962C8B-B14F-4D97-AF65-F5344CB8AC3E}">
        <p14:creationId xmlns:p14="http://schemas.microsoft.com/office/powerpoint/2010/main" val="410940199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36599" y="109538"/>
            <a:ext cx="6309659" cy="762000"/>
          </a:xfrm>
        </p:spPr>
        <p:txBody>
          <a:bodyPr/>
          <a:lstStyle/>
          <a:p>
            <a:r>
              <a:rPr lang="en-US"/>
              <a:t>Quality Measure Catalogue: Questions</a:t>
            </a:r>
          </a:p>
        </p:txBody>
      </p:sp>
      <p:sp>
        <p:nvSpPr>
          <p:cNvPr id="4" name="Content Placeholder 3"/>
          <p:cNvSpPr>
            <a:spLocks noGrp="1"/>
          </p:cNvSpPr>
          <p:nvPr>
            <p:ph sz="half" idx="1"/>
          </p:nvPr>
        </p:nvSpPr>
        <p:spPr>
          <a:xfrm>
            <a:off x="487101" y="1150882"/>
            <a:ext cx="8077200" cy="5249917"/>
          </a:xfrm>
        </p:spPr>
        <p:txBody>
          <a:bodyPr/>
          <a:lstStyle/>
          <a:p>
            <a:pPr>
              <a:spcAft>
                <a:spcPts val="600"/>
              </a:spcAft>
            </a:pPr>
            <a:r>
              <a:rPr lang="en-US" sz="1600" b="0"/>
              <a:t>Payers were asked to answer all of the following questions for each measure:</a:t>
            </a:r>
          </a:p>
          <a:p>
            <a:pPr marL="747713" lvl="2" indent="-230188">
              <a:spcAft>
                <a:spcPts val="600"/>
              </a:spcAft>
            </a:pPr>
            <a:r>
              <a:rPr lang="en-US" sz="1200" b="0"/>
              <a:t>1. Is this measure used in global budget contracts? (Y/N)</a:t>
            </a:r>
          </a:p>
          <a:p>
            <a:pPr marL="747713" lvl="2" indent="-230188">
              <a:spcAft>
                <a:spcPts val="600"/>
              </a:spcAft>
            </a:pPr>
            <a:r>
              <a:rPr lang="en-US" sz="1200" b="0"/>
              <a:t>1a. If yes,  # of  contracts (#)</a:t>
            </a:r>
          </a:p>
          <a:p>
            <a:pPr marL="747713" lvl="2" indent="-230188">
              <a:spcAft>
                <a:spcPts val="600"/>
              </a:spcAft>
            </a:pPr>
            <a:r>
              <a:rPr lang="en-US" sz="1200" b="0"/>
              <a:t>1b. Is the measure Pay for Performance in Contracts? (Y/N)</a:t>
            </a:r>
          </a:p>
          <a:p>
            <a:pPr marL="747713" lvl="2" indent="-230188">
              <a:spcAft>
                <a:spcPts val="600"/>
              </a:spcAft>
            </a:pPr>
            <a:r>
              <a:rPr lang="en-US" sz="1200" b="0"/>
              <a:t>1b. Is the measure Pay for Reporting in Contracts? (Y/N)</a:t>
            </a:r>
          </a:p>
          <a:p>
            <a:pPr marL="747713" lvl="2" indent="-230188">
              <a:spcAft>
                <a:spcPts val="600"/>
              </a:spcAft>
            </a:pPr>
            <a:r>
              <a:rPr lang="en-US" sz="1200" b="0"/>
              <a:t>2. Is the measure used for </a:t>
            </a:r>
            <a:r>
              <a:rPr lang="en-US" sz="1200" b="0" err="1"/>
              <a:t>tiering</a:t>
            </a:r>
            <a:r>
              <a:rPr lang="en-US" sz="1200" b="0"/>
              <a:t> or limited network product methodology? (Y/N)</a:t>
            </a:r>
          </a:p>
          <a:p>
            <a:pPr marL="747713" lvl="2" indent="-230188">
              <a:spcAft>
                <a:spcPts val="600"/>
              </a:spcAft>
            </a:pPr>
            <a:r>
              <a:rPr lang="en-US" sz="1200" b="0"/>
              <a:t>3. Is the measure used for consumer transparency information about provider performance (e.g., website)? (Y/N)</a:t>
            </a:r>
          </a:p>
          <a:p>
            <a:pPr marL="747713" lvl="2" indent="-230188">
              <a:spcAft>
                <a:spcPts val="600"/>
              </a:spcAft>
            </a:pPr>
            <a:r>
              <a:rPr lang="en-US" sz="1200" b="0"/>
              <a:t>4. Is performance risk-adjusted for this measure? (Y/N)</a:t>
            </a:r>
          </a:p>
          <a:p>
            <a:pPr marL="747713" lvl="2" indent="-230188">
              <a:spcAft>
                <a:spcPts val="600"/>
              </a:spcAft>
            </a:pPr>
            <a:r>
              <a:rPr lang="en-US" sz="1200" b="0"/>
              <a:t>5. Have you modified the externally developed specifications for this measure? (Y/N)</a:t>
            </a:r>
          </a:p>
          <a:p>
            <a:pPr marL="747713" lvl="2" indent="-230188">
              <a:spcAft>
                <a:spcPts val="600"/>
              </a:spcAft>
            </a:pPr>
            <a:r>
              <a:rPr lang="en-US" sz="1200" b="0"/>
              <a:t>6. Is this measure homegrown (Y/N)?</a:t>
            </a:r>
          </a:p>
          <a:p>
            <a:pPr>
              <a:spcAft>
                <a:spcPts val="600"/>
              </a:spcAft>
            </a:pPr>
            <a:r>
              <a:rPr lang="en-US" sz="1600" b="0"/>
              <a:t>If Payers answered “Y” to questions 5 and/or 6, they were asked to complete a supplemental form to provide detailed information about the modifications and/or homegrown measure specifications.</a:t>
            </a:r>
          </a:p>
          <a:p>
            <a:pPr lvl="1">
              <a:spcAft>
                <a:spcPts val="600"/>
              </a:spcAft>
            </a:pPr>
            <a:r>
              <a:rPr lang="en-US" sz="1600" b="0"/>
              <a:t>This process for collecting detailed information allows the HPC and CHIA to track potential Innovation measures.</a:t>
            </a:r>
          </a:p>
          <a:p>
            <a:pPr>
              <a:spcAft>
                <a:spcPts val="600"/>
              </a:spcAft>
            </a:pPr>
            <a:r>
              <a:rPr lang="en-US" sz="1600" b="0"/>
              <a:t>Payers were asked to add any measures not included in the spreadsheet, and to respond to the questions as applicable.</a:t>
            </a:r>
          </a:p>
          <a:p>
            <a:pPr marL="0" indent="0">
              <a:spcAft>
                <a:spcPts val="600"/>
              </a:spcAft>
              <a:buNone/>
            </a:pPr>
            <a:endParaRPr lang="en-US"/>
          </a:p>
          <a:p>
            <a:pPr marL="346075" lvl="1" indent="0">
              <a:buNone/>
            </a:pPr>
            <a:endParaRPr lang="en-US" sz="1600"/>
          </a:p>
          <a:p>
            <a:endParaRPr lang="en-US"/>
          </a:p>
          <a:p>
            <a:endParaRPr lang="en-US"/>
          </a:p>
        </p:txBody>
      </p:sp>
    </p:spTree>
    <p:extLst>
      <p:ext uri="{BB962C8B-B14F-4D97-AF65-F5344CB8AC3E}">
        <p14:creationId xmlns:p14="http://schemas.microsoft.com/office/powerpoint/2010/main" val="161162683"/>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276450" y="1150702"/>
            <a:ext cx="8540939" cy="4265633"/>
          </a:xfrm>
          <a:prstGeom prst="rect">
            <a:avLst/>
          </a:prstGeom>
        </p:spPr>
      </p:pic>
      <p:sp>
        <p:nvSpPr>
          <p:cNvPr id="3" name="Title 2"/>
          <p:cNvSpPr>
            <a:spLocks noGrp="1"/>
          </p:cNvSpPr>
          <p:nvPr>
            <p:ph type="title"/>
          </p:nvPr>
        </p:nvSpPr>
        <p:spPr>
          <a:xfrm>
            <a:off x="736600" y="109538"/>
            <a:ext cx="6451600" cy="762000"/>
          </a:xfrm>
        </p:spPr>
        <p:txBody>
          <a:bodyPr/>
          <a:lstStyle/>
          <a:p>
            <a:r>
              <a:rPr lang="en-US"/>
              <a:t>Overview of quality measures in use in any contract by MA commercial payers</a:t>
            </a:r>
          </a:p>
        </p:txBody>
      </p:sp>
      <p:sp>
        <p:nvSpPr>
          <p:cNvPr id="6" name="TextBox 5"/>
          <p:cNvSpPr txBox="1"/>
          <p:nvPr/>
        </p:nvSpPr>
        <p:spPr>
          <a:xfrm>
            <a:off x="101599" y="5416335"/>
            <a:ext cx="8928101" cy="954107"/>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n-US" sz="1400">
                <a:latin typeface="Book Antiqua" panose="02040602050305030304" pitchFamily="18" charset="0"/>
              </a:rPr>
              <a:t>Analysis only includes measures the Taskforce has considered for inclusion in the Aligned Measure Set, so hospital measures and those added by payers are not counted.</a:t>
            </a:r>
          </a:p>
          <a:p>
            <a:pPr marL="285750" indent="-285750">
              <a:buFont typeface="Arial" panose="020B0604020202020204" pitchFamily="34" charset="0"/>
              <a:buChar char="•"/>
            </a:pPr>
            <a:r>
              <a:rPr lang="en-US" sz="1400">
                <a:latin typeface="Book Antiqua" panose="02040602050305030304" pitchFamily="18" charset="0"/>
              </a:rPr>
              <a:t>Analysis only includes the six payers who submitted this year, and who have submitted all three years.</a:t>
            </a:r>
          </a:p>
          <a:p>
            <a:pPr marL="285750" indent="-285750">
              <a:buFont typeface="Arial" panose="020B0604020202020204" pitchFamily="34" charset="0"/>
              <a:buChar char="•"/>
            </a:pPr>
            <a:r>
              <a:rPr lang="en-US" sz="1400">
                <a:latin typeface="Book Antiqua" panose="02040602050305030304" pitchFamily="18" charset="0"/>
              </a:rPr>
              <a:t>Notable increase between 2020 and 2021 in process measures used by one payer.</a:t>
            </a:r>
            <a:endParaRPr lang="en-US" sz="1400">
              <a:solidFill>
                <a:srgbClr val="000000"/>
              </a:solidFill>
              <a:latin typeface="Book Antiqua" panose="02040602050305030304" pitchFamily="18" charset="0"/>
            </a:endParaRPr>
          </a:p>
        </p:txBody>
      </p:sp>
      <p:pic>
        <p:nvPicPr>
          <p:cNvPr id="11" name="Picture 10"/>
          <p:cNvPicPr>
            <a:picLocks noChangeAspect="1"/>
          </p:cNvPicPr>
          <p:nvPr/>
        </p:nvPicPr>
        <p:blipFill>
          <a:blip r:embed="rId4"/>
          <a:stretch>
            <a:fillRect/>
          </a:stretch>
        </p:blipFill>
        <p:spPr>
          <a:xfrm>
            <a:off x="7188200" y="1599706"/>
            <a:ext cx="1305107" cy="724001"/>
          </a:xfrm>
          <a:prstGeom prst="rect">
            <a:avLst/>
          </a:prstGeom>
        </p:spPr>
      </p:pic>
    </p:spTree>
    <p:extLst>
      <p:ext uri="{BB962C8B-B14F-4D97-AF65-F5344CB8AC3E}">
        <p14:creationId xmlns:p14="http://schemas.microsoft.com/office/powerpoint/2010/main" val="131145441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36599" y="109538"/>
            <a:ext cx="6892365" cy="762000"/>
          </a:xfrm>
        </p:spPr>
        <p:txBody>
          <a:bodyPr/>
          <a:lstStyle/>
          <a:p>
            <a:r>
              <a:rPr lang="en-US"/>
              <a:t>Overview of quality measures in use in at least 10 contracts by MA commercial payers</a:t>
            </a:r>
          </a:p>
        </p:txBody>
      </p:sp>
      <p:sp>
        <p:nvSpPr>
          <p:cNvPr id="6" name="TextBox 5"/>
          <p:cNvSpPr txBox="1"/>
          <p:nvPr/>
        </p:nvSpPr>
        <p:spPr>
          <a:xfrm>
            <a:off x="249343" y="5044058"/>
            <a:ext cx="8686800" cy="1569660"/>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n-US" sz="1600">
                <a:solidFill>
                  <a:srgbClr val="000000"/>
                </a:solidFill>
                <a:latin typeface="Book Antiqua" panose="02040602050305030304" pitchFamily="18" charset="0"/>
              </a:rPr>
              <a:t>Two of the </a:t>
            </a:r>
            <a:r>
              <a:rPr lang="en-US" sz="1600">
                <a:latin typeface="Book Antiqua" panose="02040602050305030304" pitchFamily="18" charset="0"/>
              </a:rPr>
              <a:t>six</a:t>
            </a:r>
            <a:r>
              <a:rPr lang="en-US" sz="1600">
                <a:solidFill>
                  <a:srgbClr val="FF0000"/>
                </a:solidFill>
                <a:latin typeface="Book Antiqua" panose="02040602050305030304" pitchFamily="18" charset="0"/>
              </a:rPr>
              <a:t> </a:t>
            </a:r>
            <a:r>
              <a:rPr lang="en-US" sz="1600">
                <a:solidFill>
                  <a:srgbClr val="000000"/>
                </a:solidFill>
                <a:latin typeface="Book Antiqua" panose="02040602050305030304" pitchFamily="18" charset="0"/>
              </a:rPr>
              <a:t>reporting plans reported use of some measures in ≥ 10 contracts in 2021</a:t>
            </a:r>
          </a:p>
          <a:p>
            <a:pPr marL="285750" indent="-285750">
              <a:buFont typeface="Arial" panose="020B0604020202020204" pitchFamily="34" charset="0"/>
              <a:buChar char="•"/>
            </a:pPr>
            <a:r>
              <a:rPr lang="en-US" sz="1600">
                <a:solidFill>
                  <a:srgbClr val="000000"/>
                </a:solidFill>
                <a:latin typeface="Book Antiqua" panose="02040602050305030304" pitchFamily="18" charset="0"/>
              </a:rPr>
              <a:t>Process measures are the most commonly used measures in ≥ 10 contracts, though fewer measures overall used in ≥ 10 contracts in 2021 than in prior years</a:t>
            </a:r>
          </a:p>
          <a:p>
            <a:pPr marL="285750" indent="-285750">
              <a:buFont typeface="Arial" panose="020B0604020202020204" pitchFamily="34" charset="0"/>
              <a:buChar char="•"/>
            </a:pPr>
            <a:r>
              <a:rPr lang="en-US" sz="1600">
                <a:solidFill>
                  <a:srgbClr val="000000"/>
                </a:solidFill>
                <a:latin typeface="Book Antiqua" panose="02040602050305030304" pitchFamily="18" charset="0"/>
              </a:rPr>
              <a:t>Two measures included by both plans in ≥ 10 contracts:  </a:t>
            </a:r>
          </a:p>
          <a:p>
            <a:pPr marL="742950" lvl="1" indent="-285750">
              <a:buFont typeface="Arial" panose="020B0604020202020204" pitchFamily="34" charset="0"/>
              <a:buChar char="•"/>
            </a:pPr>
            <a:r>
              <a:rPr lang="en-US" sz="1600">
                <a:solidFill>
                  <a:srgbClr val="000000"/>
                </a:solidFill>
                <a:latin typeface="Book Antiqua" panose="02040602050305030304" pitchFamily="18" charset="0"/>
              </a:rPr>
              <a:t>Comprehensive Diabetes Care: Blood Pressure Control (&lt;140/90 mm Hg)</a:t>
            </a:r>
          </a:p>
          <a:p>
            <a:pPr marL="742950" lvl="1" indent="-285750">
              <a:buFont typeface="Arial" panose="020B0604020202020204" pitchFamily="34" charset="0"/>
              <a:buChar char="•"/>
            </a:pPr>
            <a:r>
              <a:rPr lang="en-US" sz="1600">
                <a:solidFill>
                  <a:srgbClr val="000000"/>
                </a:solidFill>
                <a:latin typeface="Book Antiqua" panose="02040602050305030304" pitchFamily="18" charset="0"/>
              </a:rPr>
              <a:t>Colorectal Cancer Screening</a:t>
            </a:r>
          </a:p>
        </p:txBody>
      </p:sp>
      <p:pic>
        <p:nvPicPr>
          <p:cNvPr id="2" name="Picture 1"/>
          <p:cNvPicPr>
            <a:picLocks noChangeAspect="1"/>
          </p:cNvPicPr>
          <p:nvPr/>
        </p:nvPicPr>
        <p:blipFill>
          <a:blip r:embed="rId3"/>
          <a:stretch>
            <a:fillRect/>
          </a:stretch>
        </p:blipFill>
        <p:spPr>
          <a:xfrm>
            <a:off x="639827" y="983306"/>
            <a:ext cx="8075951" cy="4060752"/>
          </a:xfrm>
          <a:prstGeom prst="rect">
            <a:avLst/>
          </a:prstGeom>
        </p:spPr>
      </p:pic>
      <p:pic>
        <p:nvPicPr>
          <p:cNvPr id="5" name="Picture 4"/>
          <p:cNvPicPr>
            <a:picLocks noChangeAspect="1"/>
          </p:cNvPicPr>
          <p:nvPr/>
        </p:nvPicPr>
        <p:blipFill>
          <a:blip r:embed="rId4"/>
          <a:stretch>
            <a:fillRect/>
          </a:stretch>
        </p:blipFill>
        <p:spPr>
          <a:xfrm>
            <a:off x="7255519" y="1531487"/>
            <a:ext cx="1352739" cy="647790"/>
          </a:xfrm>
          <a:prstGeom prst="rect">
            <a:avLst/>
          </a:prstGeom>
        </p:spPr>
      </p:pic>
    </p:spTree>
    <p:extLst>
      <p:ext uri="{BB962C8B-B14F-4D97-AF65-F5344CB8AC3E}">
        <p14:creationId xmlns:p14="http://schemas.microsoft.com/office/powerpoint/2010/main" val="2514452420"/>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736600" y="109538"/>
            <a:ext cx="5664200" cy="762000"/>
          </a:xfrm>
        </p:spPr>
        <p:txBody>
          <a:bodyPr/>
          <a:lstStyle/>
          <a:p>
            <a:r>
              <a:rPr lang="en-US"/>
              <a:t>Plans Use of 2021 Core and Menu Measures in Any Contract</a:t>
            </a:r>
          </a:p>
        </p:txBody>
      </p:sp>
      <p:graphicFrame>
        <p:nvGraphicFramePr>
          <p:cNvPr id="13" name="Table 12"/>
          <p:cNvGraphicFramePr>
            <a:graphicFrameLocks noGrp="1"/>
          </p:cNvGraphicFramePr>
          <p:nvPr/>
        </p:nvGraphicFramePr>
        <p:xfrm>
          <a:off x="352645" y="1036417"/>
          <a:ext cx="8525544" cy="5034765"/>
        </p:xfrm>
        <a:graphic>
          <a:graphicData uri="http://schemas.openxmlformats.org/drawingml/2006/table">
            <a:tbl>
              <a:tblPr/>
              <a:tblGrid>
                <a:gridCol w="528332">
                  <a:extLst>
                    <a:ext uri="{9D8B030D-6E8A-4147-A177-3AD203B41FA5}">
                      <a16:colId xmlns:a16="http://schemas.microsoft.com/office/drawing/2014/main" val="20000"/>
                    </a:ext>
                  </a:extLst>
                </a:gridCol>
                <a:gridCol w="3219518">
                  <a:extLst>
                    <a:ext uri="{9D8B030D-6E8A-4147-A177-3AD203B41FA5}">
                      <a16:colId xmlns:a16="http://schemas.microsoft.com/office/drawing/2014/main" val="20001"/>
                    </a:ext>
                  </a:extLst>
                </a:gridCol>
                <a:gridCol w="437524">
                  <a:extLst>
                    <a:ext uri="{9D8B030D-6E8A-4147-A177-3AD203B41FA5}">
                      <a16:colId xmlns:a16="http://schemas.microsoft.com/office/drawing/2014/main" val="20002"/>
                    </a:ext>
                  </a:extLst>
                </a:gridCol>
                <a:gridCol w="439588">
                  <a:extLst>
                    <a:ext uri="{9D8B030D-6E8A-4147-A177-3AD203B41FA5}">
                      <a16:colId xmlns:a16="http://schemas.microsoft.com/office/drawing/2014/main" val="20003"/>
                    </a:ext>
                  </a:extLst>
                </a:gridCol>
                <a:gridCol w="216699">
                  <a:extLst>
                    <a:ext uri="{9D8B030D-6E8A-4147-A177-3AD203B41FA5}">
                      <a16:colId xmlns:a16="http://schemas.microsoft.com/office/drawing/2014/main" val="20004"/>
                    </a:ext>
                  </a:extLst>
                </a:gridCol>
                <a:gridCol w="216699">
                  <a:extLst>
                    <a:ext uri="{9D8B030D-6E8A-4147-A177-3AD203B41FA5}">
                      <a16:colId xmlns:a16="http://schemas.microsoft.com/office/drawing/2014/main" val="20005"/>
                    </a:ext>
                  </a:extLst>
                </a:gridCol>
                <a:gridCol w="216699">
                  <a:extLst>
                    <a:ext uri="{9D8B030D-6E8A-4147-A177-3AD203B41FA5}">
                      <a16:colId xmlns:a16="http://schemas.microsoft.com/office/drawing/2014/main" val="20006"/>
                    </a:ext>
                  </a:extLst>
                </a:gridCol>
                <a:gridCol w="216699">
                  <a:extLst>
                    <a:ext uri="{9D8B030D-6E8A-4147-A177-3AD203B41FA5}">
                      <a16:colId xmlns:a16="http://schemas.microsoft.com/office/drawing/2014/main" val="20007"/>
                    </a:ext>
                  </a:extLst>
                </a:gridCol>
                <a:gridCol w="216699">
                  <a:extLst>
                    <a:ext uri="{9D8B030D-6E8A-4147-A177-3AD203B41FA5}">
                      <a16:colId xmlns:a16="http://schemas.microsoft.com/office/drawing/2014/main" val="20008"/>
                    </a:ext>
                  </a:extLst>
                </a:gridCol>
                <a:gridCol w="216699">
                  <a:extLst>
                    <a:ext uri="{9D8B030D-6E8A-4147-A177-3AD203B41FA5}">
                      <a16:colId xmlns:a16="http://schemas.microsoft.com/office/drawing/2014/main" val="20009"/>
                    </a:ext>
                  </a:extLst>
                </a:gridCol>
                <a:gridCol w="216699">
                  <a:extLst>
                    <a:ext uri="{9D8B030D-6E8A-4147-A177-3AD203B41FA5}">
                      <a16:colId xmlns:a16="http://schemas.microsoft.com/office/drawing/2014/main" val="20010"/>
                    </a:ext>
                  </a:extLst>
                </a:gridCol>
                <a:gridCol w="216699">
                  <a:extLst>
                    <a:ext uri="{9D8B030D-6E8A-4147-A177-3AD203B41FA5}">
                      <a16:colId xmlns:a16="http://schemas.microsoft.com/office/drawing/2014/main" val="20011"/>
                    </a:ext>
                  </a:extLst>
                </a:gridCol>
                <a:gridCol w="216699">
                  <a:extLst>
                    <a:ext uri="{9D8B030D-6E8A-4147-A177-3AD203B41FA5}">
                      <a16:colId xmlns:a16="http://schemas.microsoft.com/office/drawing/2014/main" val="20012"/>
                    </a:ext>
                  </a:extLst>
                </a:gridCol>
                <a:gridCol w="216699">
                  <a:extLst>
                    <a:ext uri="{9D8B030D-6E8A-4147-A177-3AD203B41FA5}">
                      <a16:colId xmlns:a16="http://schemas.microsoft.com/office/drawing/2014/main" val="20013"/>
                    </a:ext>
                  </a:extLst>
                </a:gridCol>
                <a:gridCol w="216699">
                  <a:extLst>
                    <a:ext uri="{9D8B030D-6E8A-4147-A177-3AD203B41FA5}">
                      <a16:colId xmlns:a16="http://schemas.microsoft.com/office/drawing/2014/main" val="20014"/>
                    </a:ext>
                  </a:extLst>
                </a:gridCol>
                <a:gridCol w="216699">
                  <a:extLst>
                    <a:ext uri="{9D8B030D-6E8A-4147-A177-3AD203B41FA5}">
                      <a16:colId xmlns:a16="http://schemas.microsoft.com/office/drawing/2014/main" val="20015"/>
                    </a:ext>
                  </a:extLst>
                </a:gridCol>
                <a:gridCol w="216699">
                  <a:extLst>
                    <a:ext uri="{9D8B030D-6E8A-4147-A177-3AD203B41FA5}">
                      <a16:colId xmlns:a16="http://schemas.microsoft.com/office/drawing/2014/main" val="20016"/>
                    </a:ext>
                  </a:extLst>
                </a:gridCol>
                <a:gridCol w="216699">
                  <a:extLst>
                    <a:ext uri="{9D8B030D-6E8A-4147-A177-3AD203B41FA5}">
                      <a16:colId xmlns:a16="http://schemas.microsoft.com/office/drawing/2014/main" val="20017"/>
                    </a:ext>
                  </a:extLst>
                </a:gridCol>
                <a:gridCol w="216699">
                  <a:extLst>
                    <a:ext uri="{9D8B030D-6E8A-4147-A177-3AD203B41FA5}">
                      <a16:colId xmlns:a16="http://schemas.microsoft.com/office/drawing/2014/main" val="20018"/>
                    </a:ext>
                  </a:extLst>
                </a:gridCol>
                <a:gridCol w="216699">
                  <a:extLst>
                    <a:ext uri="{9D8B030D-6E8A-4147-A177-3AD203B41FA5}">
                      <a16:colId xmlns:a16="http://schemas.microsoft.com/office/drawing/2014/main" val="20019"/>
                    </a:ext>
                  </a:extLst>
                </a:gridCol>
                <a:gridCol w="216699">
                  <a:extLst>
                    <a:ext uri="{9D8B030D-6E8A-4147-A177-3AD203B41FA5}">
                      <a16:colId xmlns:a16="http://schemas.microsoft.com/office/drawing/2014/main" val="20020"/>
                    </a:ext>
                  </a:extLst>
                </a:gridCol>
                <a:gridCol w="216699">
                  <a:extLst>
                    <a:ext uri="{9D8B030D-6E8A-4147-A177-3AD203B41FA5}">
                      <a16:colId xmlns:a16="http://schemas.microsoft.com/office/drawing/2014/main" val="20021"/>
                    </a:ext>
                  </a:extLst>
                </a:gridCol>
              </a:tblGrid>
              <a:tr h="183518">
                <a:tc rowSpan="2">
                  <a:txBody>
                    <a:bodyPr/>
                    <a:lstStyle/>
                    <a:p>
                      <a:pPr algn="l" fontAlgn="b"/>
                      <a:r>
                        <a:rPr lang="en-US" sz="600" b="1" i="0" u="none" strike="noStrike">
                          <a:solidFill>
                            <a:srgbClr val="000000"/>
                          </a:solidFill>
                          <a:effectLst/>
                          <a:latin typeface="Arial" panose="020B0604020202020204" pitchFamily="34" charset="0"/>
                        </a:rPr>
                        <a:t>Measure Designation</a:t>
                      </a:r>
                    </a:p>
                  </a:txBody>
                  <a:tcPr marL="5948" marR="5948" marT="5948" marB="0" anchor="b">
                    <a:lnL>
                      <a:noFill/>
                    </a:lnL>
                    <a:lnR>
                      <a:noFill/>
                    </a:lnR>
                    <a:lnT>
                      <a:noFill/>
                    </a:lnT>
                    <a:lnB w="6350" cap="flat" cmpd="sng" algn="ctr">
                      <a:solidFill>
                        <a:srgbClr val="D9D9D9"/>
                      </a:solidFill>
                      <a:prstDash val="solid"/>
                      <a:round/>
                      <a:headEnd type="none" w="med" len="med"/>
                      <a:tailEnd type="none" w="med" len="med"/>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5948" marR="5948" marT="5948" marB="0" anchor="b">
                    <a:lnL>
                      <a:noFill/>
                    </a:lnL>
                    <a:lnR>
                      <a:noFill/>
                    </a:lnR>
                    <a:lnT>
                      <a:noFill/>
                    </a:lnT>
                    <a:lnB>
                      <a:noFill/>
                    </a:lnB>
                  </a:tcPr>
                </a:tc>
                <a:tc rowSpan="2">
                  <a:txBody>
                    <a:bodyPr/>
                    <a:lstStyle/>
                    <a:p>
                      <a:pPr algn="ctr" fontAlgn="b"/>
                      <a:r>
                        <a:rPr lang="en-US" sz="600" b="1" i="0" u="none" strike="noStrike">
                          <a:solidFill>
                            <a:srgbClr val="000000"/>
                          </a:solidFill>
                          <a:effectLst/>
                          <a:latin typeface="Arial" panose="020B0604020202020204" pitchFamily="34" charset="0"/>
                        </a:rPr>
                        <a:t>Used in # contracts in 2021</a:t>
                      </a:r>
                    </a:p>
                  </a:txBody>
                  <a:tcPr marL="5948" marR="5948" marT="5948" marB="0" anchor="b">
                    <a:lnL>
                      <a:noFill/>
                    </a:lnL>
                    <a:lnR>
                      <a:noFill/>
                    </a:lnR>
                    <a:lnT>
                      <a:noFill/>
                    </a:lnT>
                    <a:lnB w="6350" cap="flat" cmpd="sng" algn="ctr">
                      <a:solidFill>
                        <a:srgbClr val="A6A6A6"/>
                      </a:solidFill>
                      <a:prstDash val="solid"/>
                      <a:round/>
                      <a:headEnd type="none" w="med" len="med"/>
                      <a:tailEnd type="none" w="med" len="med"/>
                    </a:lnB>
                  </a:tcPr>
                </a:tc>
                <a:tc rowSpan="2">
                  <a:txBody>
                    <a:bodyPr/>
                    <a:lstStyle/>
                    <a:p>
                      <a:pPr algn="ctr" fontAlgn="b"/>
                      <a:r>
                        <a:rPr lang="en-US" sz="600" b="1" i="0" u="none" strike="noStrike">
                          <a:solidFill>
                            <a:srgbClr val="000000"/>
                          </a:solidFill>
                          <a:effectLst/>
                          <a:latin typeface="Arial" panose="020B0604020202020204" pitchFamily="34" charset="0"/>
                        </a:rPr>
                        <a:t># contracts compared to 2020</a:t>
                      </a:r>
                    </a:p>
                  </a:txBody>
                  <a:tcPr marL="5948" marR="5948" marT="5948" marB="0" anchor="b">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tcPr>
                </a:tc>
                <a:tc gridSpan="3">
                  <a:txBody>
                    <a:bodyPr/>
                    <a:lstStyle/>
                    <a:p>
                      <a:pPr algn="ctr" fontAlgn="b"/>
                      <a:r>
                        <a:rPr lang="en-US" sz="600" b="1" i="0" u="none" strike="noStrike">
                          <a:solidFill>
                            <a:srgbClr val="000000"/>
                          </a:solidFill>
                          <a:effectLst/>
                          <a:latin typeface="Arial" panose="020B0604020202020204" pitchFamily="34" charset="0"/>
                        </a:rPr>
                        <a:t>BCBSMA</a:t>
                      </a:r>
                    </a:p>
                  </a:txBody>
                  <a:tcPr marL="5948" marR="5948" marT="5948" marB="0" anchor="b">
                    <a:lnL w="6350" cap="flat" cmpd="sng" algn="ctr">
                      <a:solidFill>
                        <a:srgbClr val="A6A6A6"/>
                      </a:solidFill>
                      <a:prstDash val="solid"/>
                      <a:round/>
                      <a:headEnd type="none" w="med" len="med"/>
                      <a:tailEnd type="none" w="med" len="med"/>
                    </a:lnL>
                    <a:lnR>
                      <a:noFill/>
                    </a:lnR>
                    <a:lnT>
                      <a:noFill/>
                    </a:lnT>
                    <a:lnB>
                      <a:noFill/>
                    </a:lnB>
                  </a:tcPr>
                </a:tc>
                <a:tc hMerge="1">
                  <a:txBody>
                    <a:bodyPr/>
                    <a:lstStyle/>
                    <a:p>
                      <a:endParaRPr lang="en-US"/>
                    </a:p>
                  </a:txBody>
                  <a:tcPr/>
                </a:tc>
                <a:tc hMerge="1">
                  <a:txBody>
                    <a:bodyPr/>
                    <a:lstStyle/>
                    <a:p>
                      <a:endParaRPr lang="en-US"/>
                    </a:p>
                  </a:txBody>
                  <a:tcPr/>
                </a:tc>
                <a:tc gridSpan="3">
                  <a:txBody>
                    <a:bodyPr/>
                    <a:lstStyle/>
                    <a:p>
                      <a:pPr algn="ctr" fontAlgn="b"/>
                      <a:r>
                        <a:rPr lang="en-US" sz="600" b="1" i="0" u="none" strike="noStrike">
                          <a:solidFill>
                            <a:srgbClr val="000000"/>
                          </a:solidFill>
                          <a:effectLst/>
                          <a:latin typeface="Arial" panose="020B0604020202020204" pitchFamily="34" charset="0"/>
                        </a:rPr>
                        <a:t>BMC HealthNet</a:t>
                      </a:r>
                    </a:p>
                  </a:txBody>
                  <a:tcPr marL="5948" marR="5948" marT="5948" marB="0" anchor="b">
                    <a:lnL>
                      <a:noFill/>
                    </a:lnL>
                    <a:lnR>
                      <a:noFill/>
                    </a:lnR>
                    <a:lnT>
                      <a:noFill/>
                    </a:lnT>
                    <a:lnB>
                      <a:noFill/>
                    </a:lnB>
                  </a:tcPr>
                </a:tc>
                <a:tc hMerge="1">
                  <a:txBody>
                    <a:bodyPr/>
                    <a:lstStyle/>
                    <a:p>
                      <a:endParaRPr lang="en-US"/>
                    </a:p>
                  </a:txBody>
                  <a:tcPr/>
                </a:tc>
                <a:tc hMerge="1">
                  <a:txBody>
                    <a:bodyPr/>
                    <a:lstStyle/>
                    <a:p>
                      <a:endParaRPr lang="en-US"/>
                    </a:p>
                  </a:txBody>
                  <a:tcPr/>
                </a:tc>
                <a:tc gridSpan="3">
                  <a:txBody>
                    <a:bodyPr/>
                    <a:lstStyle/>
                    <a:p>
                      <a:pPr algn="ctr" fontAlgn="b"/>
                      <a:r>
                        <a:rPr lang="en-US" sz="600" b="1" i="0" u="none" strike="noStrike">
                          <a:solidFill>
                            <a:srgbClr val="000000"/>
                          </a:solidFill>
                          <a:effectLst/>
                          <a:latin typeface="Arial" panose="020B0604020202020204" pitchFamily="34" charset="0"/>
                        </a:rPr>
                        <a:t>Fallon Health</a:t>
                      </a:r>
                    </a:p>
                  </a:txBody>
                  <a:tcPr marL="5948" marR="5948" marT="5948" marB="0" anchor="b">
                    <a:lnL>
                      <a:noFill/>
                    </a:lnL>
                    <a:lnR>
                      <a:noFill/>
                    </a:lnR>
                    <a:lnT>
                      <a:noFill/>
                    </a:lnT>
                    <a:lnB>
                      <a:noFill/>
                    </a:lnB>
                  </a:tcPr>
                </a:tc>
                <a:tc hMerge="1">
                  <a:txBody>
                    <a:bodyPr/>
                    <a:lstStyle/>
                    <a:p>
                      <a:endParaRPr lang="en-US"/>
                    </a:p>
                  </a:txBody>
                  <a:tcPr/>
                </a:tc>
                <a:tc hMerge="1">
                  <a:txBody>
                    <a:bodyPr/>
                    <a:lstStyle/>
                    <a:p>
                      <a:endParaRPr lang="en-US"/>
                    </a:p>
                  </a:txBody>
                  <a:tcPr/>
                </a:tc>
                <a:tc gridSpan="3">
                  <a:txBody>
                    <a:bodyPr/>
                    <a:lstStyle/>
                    <a:p>
                      <a:pPr algn="ctr" fontAlgn="b"/>
                      <a:r>
                        <a:rPr lang="en-US" sz="600" b="1" i="0" u="none" strike="noStrike">
                          <a:solidFill>
                            <a:srgbClr val="000000"/>
                          </a:solidFill>
                          <a:effectLst/>
                          <a:latin typeface="Arial" panose="020B0604020202020204" pitchFamily="34" charset="0"/>
                        </a:rPr>
                        <a:t>HNE</a:t>
                      </a:r>
                    </a:p>
                  </a:txBody>
                  <a:tcPr marL="5948" marR="5948" marT="5948" marB="0" anchor="b">
                    <a:lnL>
                      <a:noFill/>
                    </a:lnL>
                    <a:lnR>
                      <a:noFill/>
                    </a:lnR>
                    <a:lnT>
                      <a:noFill/>
                    </a:lnT>
                    <a:lnB>
                      <a:noFill/>
                    </a:lnB>
                  </a:tcPr>
                </a:tc>
                <a:tc hMerge="1">
                  <a:txBody>
                    <a:bodyPr/>
                    <a:lstStyle/>
                    <a:p>
                      <a:endParaRPr lang="en-US"/>
                    </a:p>
                  </a:txBody>
                  <a:tcPr/>
                </a:tc>
                <a:tc hMerge="1">
                  <a:txBody>
                    <a:bodyPr/>
                    <a:lstStyle/>
                    <a:p>
                      <a:endParaRPr lang="en-US"/>
                    </a:p>
                  </a:txBody>
                  <a:tcPr/>
                </a:tc>
                <a:tc gridSpan="3">
                  <a:txBody>
                    <a:bodyPr/>
                    <a:lstStyle/>
                    <a:p>
                      <a:pPr algn="ctr" fontAlgn="b"/>
                      <a:r>
                        <a:rPr lang="en-US" sz="600" b="1" i="0" u="none" strike="noStrike">
                          <a:solidFill>
                            <a:srgbClr val="000000"/>
                          </a:solidFill>
                          <a:effectLst/>
                          <a:latin typeface="Arial" panose="020B0604020202020204" pitchFamily="34" charset="0"/>
                        </a:rPr>
                        <a:t>HPHC</a:t>
                      </a:r>
                    </a:p>
                  </a:txBody>
                  <a:tcPr marL="5948" marR="5948" marT="5948" marB="0" anchor="b">
                    <a:lnL>
                      <a:noFill/>
                    </a:lnL>
                    <a:lnR>
                      <a:noFill/>
                    </a:lnR>
                    <a:lnT>
                      <a:noFill/>
                    </a:lnT>
                    <a:lnB>
                      <a:noFill/>
                    </a:lnB>
                  </a:tcPr>
                </a:tc>
                <a:tc hMerge="1">
                  <a:txBody>
                    <a:bodyPr/>
                    <a:lstStyle/>
                    <a:p>
                      <a:endParaRPr lang="en-US"/>
                    </a:p>
                  </a:txBody>
                  <a:tcPr/>
                </a:tc>
                <a:tc hMerge="1">
                  <a:txBody>
                    <a:bodyPr/>
                    <a:lstStyle/>
                    <a:p>
                      <a:endParaRPr lang="en-US"/>
                    </a:p>
                  </a:txBody>
                  <a:tcPr/>
                </a:tc>
                <a:tc gridSpan="3">
                  <a:txBody>
                    <a:bodyPr/>
                    <a:lstStyle/>
                    <a:p>
                      <a:pPr algn="ctr" fontAlgn="b"/>
                      <a:r>
                        <a:rPr lang="en-US" sz="600" b="1" i="0" u="none" strike="noStrike">
                          <a:solidFill>
                            <a:srgbClr val="000000"/>
                          </a:solidFill>
                          <a:effectLst/>
                          <a:latin typeface="Arial" panose="020B0604020202020204" pitchFamily="34" charset="0"/>
                        </a:rPr>
                        <a:t>THP</a:t>
                      </a:r>
                    </a:p>
                  </a:txBody>
                  <a:tcPr marL="5948" marR="5948" marT="5948" marB="0" anchor="b">
                    <a:lnL>
                      <a:noFill/>
                    </a:lnL>
                    <a:lnR>
                      <a:noFill/>
                    </a:lnR>
                    <a:lnT>
                      <a:noFill/>
                    </a:lnT>
                    <a:lnB>
                      <a:noFill/>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76178">
                <a:tc vMerge="1">
                  <a:txBody>
                    <a:bodyPr/>
                    <a:lstStyle/>
                    <a:p>
                      <a:endParaRPr lang="en-US"/>
                    </a:p>
                  </a:txBody>
                  <a:tcPr/>
                </a:tc>
                <a:tc>
                  <a:txBody>
                    <a:bodyPr/>
                    <a:lstStyle/>
                    <a:p>
                      <a:pPr algn="l" fontAlgn="b"/>
                      <a:r>
                        <a:rPr lang="en-US" sz="600" b="1" i="0" u="none" strike="noStrike">
                          <a:solidFill>
                            <a:srgbClr val="333333"/>
                          </a:solidFill>
                          <a:effectLst/>
                          <a:latin typeface="Arial" panose="020B0604020202020204" pitchFamily="34" charset="0"/>
                        </a:rPr>
                        <a:t>Measure Name</a:t>
                      </a:r>
                    </a:p>
                  </a:txBody>
                  <a:tcPr marL="5948" marR="5948" marT="5948" marB="0" anchor="b">
                    <a:lnL>
                      <a:noFill/>
                    </a:lnL>
                    <a:lnR>
                      <a:noFill/>
                    </a:lnR>
                    <a:lnT>
                      <a:noFill/>
                    </a:lnT>
                    <a:lnB w="6350" cap="flat" cmpd="sng" algn="ctr">
                      <a:solidFill>
                        <a:srgbClr val="A6A6A6"/>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a:txBody>
                    <a:bodyPr/>
                    <a:lstStyle/>
                    <a:p>
                      <a:pPr algn="ctr" fontAlgn="b"/>
                      <a:r>
                        <a:rPr lang="en-US" sz="600" b="1" i="0" u="none" strike="noStrike">
                          <a:solidFill>
                            <a:srgbClr val="000000"/>
                          </a:solidFill>
                          <a:effectLst/>
                          <a:latin typeface="Arial" panose="020B0604020202020204" pitchFamily="34" charset="0"/>
                        </a:rPr>
                        <a:t>2019</a:t>
                      </a:r>
                    </a:p>
                  </a:txBody>
                  <a:tcPr marL="5948" marR="5948" marT="5948" marB="0" anchor="b">
                    <a:lnL w="6350" cap="flat" cmpd="sng" algn="ctr">
                      <a:solidFill>
                        <a:srgbClr val="A6A6A6"/>
                      </a:solidFill>
                      <a:prstDash val="solid"/>
                      <a:round/>
                      <a:headEnd type="none" w="med" len="med"/>
                      <a:tailEnd type="none" w="med" len="med"/>
                    </a:lnL>
                    <a:lnR>
                      <a:noFill/>
                    </a:lnR>
                    <a:lnT>
                      <a:noFill/>
                    </a:lnT>
                    <a:lnB w="6350" cap="flat" cmpd="sng" algn="ctr">
                      <a:solidFill>
                        <a:srgbClr val="A6A6A6"/>
                      </a:solidFill>
                      <a:prstDash val="solid"/>
                      <a:round/>
                      <a:headEnd type="none" w="med" len="med"/>
                      <a:tailEnd type="none" w="med" len="med"/>
                    </a:lnB>
                  </a:tcPr>
                </a:tc>
                <a:tc>
                  <a:txBody>
                    <a:bodyPr/>
                    <a:lstStyle/>
                    <a:p>
                      <a:pPr algn="ctr" fontAlgn="b"/>
                      <a:r>
                        <a:rPr lang="en-US" sz="600" b="1" i="0" u="none" strike="noStrike">
                          <a:solidFill>
                            <a:srgbClr val="000000"/>
                          </a:solidFill>
                          <a:effectLst/>
                          <a:latin typeface="Arial" panose="020B0604020202020204" pitchFamily="34" charset="0"/>
                        </a:rPr>
                        <a:t>2020</a:t>
                      </a:r>
                    </a:p>
                  </a:txBody>
                  <a:tcPr marL="5948" marR="5948" marT="5948" marB="0" anchor="b">
                    <a:lnL>
                      <a:noFill/>
                    </a:lnL>
                    <a:lnR>
                      <a:noFill/>
                    </a:lnR>
                    <a:lnT>
                      <a:noFill/>
                    </a:lnT>
                    <a:lnB w="6350" cap="flat" cmpd="sng" algn="ctr">
                      <a:solidFill>
                        <a:srgbClr val="A6A6A6"/>
                      </a:solidFill>
                      <a:prstDash val="solid"/>
                      <a:round/>
                      <a:headEnd type="none" w="med" len="med"/>
                      <a:tailEnd type="none" w="med" len="med"/>
                    </a:lnB>
                  </a:tcPr>
                </a:tc>
                <a:tc>
                  <a:txBody>
                    <a:bodyPr/>
                    <a:lstStyle/>
                    <a:p>
                      <a:pPr algn="ctr" fontAlgn="b"/>
                      <a:r>
                        <a:rPr lang="en-US" sz="600" b="1" i="0" u="none" strike="noStrike">
                          <a:solidFill>
                            <a:srgbClr val="000000"/>
                          </a:solidFill>
                          <a:effectLst/>
                          <a:latin typeface="Arial" panose="020B0604020202020204" pitchFamily="34" charset="0"/>
                        </a:rPr>
                        <a:t>2021</a:t>
                      </a:r>
                    </a:p>
                  </a:txBody>
                  <a:tcPr marL="5948" marR="5948" marT="5948" marB="0" anchor="b">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solidFill>
                      <a:srgbClr val="DDEBF7"/>
                    </a:solidFill>
                  </a:tcPr>
                </a:tc>
                <a:tc>
                  <a:txBody>
                    <a:bodyPr/>
                    <a:lstStyle/>
                    <a:p>
                      <a:pPr algn="ctr" fontAlgn="b"/>
                      <a:r>
                        <a:rPr lang="en-US" sz="600" b="1" i="0" u="none" strike="noStrike">
                          <a:solidFill>
                            <a:srgbClr val="000000"/>
                          </a:solidFill>
                          <a:effectLst/>
                          <a:latin typeface="Arial" panose="020B0604020202020204" pitchFamily="34" charset="0"/>
                        </a:rPr>
                        <a:t>2019</a:t>
                      </a:r>
                    </a:p>
                  </a:txBody>
                  <a:tcPr marL="5948" marR="5948" marT="5948" marB="0" anchor="b">
                    <a:lnL w="6350" cap="flat" cmpd="sng" algn="ctr">
                      <a:solidFill>
                        <a:srgbClr val="A6A6A6"/>
                      </a:solidFill>
                      <a:prstDash val="solid"/>
                      <a:round/>
                      <a:headEnd type="none" w="med" len="med"/>
                      <a:tailEnd type="none" w="med" len="med"/>
                    </a:lnL>
                    <a:lnR>
                      <a:noFill/>
                    </a:lnR>
                    <a:lnT>
                      <a:noFill/>
                    </a:lnT>
                    <a:lnB w="6350" cap="flat" cmpd="sng" algn="ctr">
                      <a:solidFill>
                        <a:srgbClr val="A6A6A6"/>
                      </a:solidFill>
                      <a:prstDash val="solid"/>
                      <a:round/>
                      <a:headEnd type="none" w="med" len="med"/>
                      <a:tailEnd type="none" w="med" len="med"/>
                    </a:lnB>
                  </a:tcPr>
                </a:tc>
                <a:tc>
                  <a:txBody>
                    <a:bodyPr/>
                    <a:lstStyle/>
                    <a:p>
                      <a:pPr algn="ctr" fontAlgn="b"/>
                      <a:r>
                        <a:rPr lang="en-US" sz="600" b="1" i="0" u="none" strike="noStrike">
                          <a:solidFill>
                            <a:srgbClr val="000000"/>
                          </a:solidFill>
                          <a:effectLst/>
                          <a:latin typeface="Arial" panose="020B0604020202020204" pitchFamily="34" charset="0"/>
                        </a:rPr>
                        <a:t>2020</a:t>
                      </a:r>
                    </a:p>
                  </a:txBody>
                  <a:tcPr marL="5948" marR="5948" marT="5948" marB="0" anchor="b">
                    <a:lnL>
                      <a:noFill/>
                    </a:lnL>
                    <a:lnR>
                      <a:noFill/>
                    </a:lnR>
                    <a:lnT>
                      <a:noFill/>
                    </a:lnT>
                    <a:lnB w="6350" cap="flat" cmpd="sng" algn="ctr">
                      <a:solidFill>
                        <a:srgbClr val="A6A6A6"/>
                      </a:solidFill>
                      <a:prstDash val="solid"/>
                      <a:round/>
                      <a:headEnd type="none" w="med" len="med"/>
                      <a:tailEnd type="none" w="med" len="med"/>
                    </a:lnB>
                  </a:tcPr>
                </a:tc>
                <a:tc>
                  <a:txBody>
                    <a:bodyPr/>
                    <a:lstStyle/>
                    <a:p>
                      <a:pPr algn="ctr" fontAlgn="b"/>
                      <a:r>
                        <a:rPr lang="en-US" sz="600" b="1" i="0" u="none" strike="noStrike">
                          <a:solidFill>
                            <a:srgbClr val="000000"/>
                          </a:solidFill>
                          <a:effectLst/>
                          <a:latin typeface="Arial" panose="020B0604020202020204" pitchFamily="34" charset="0"/>
                        </a:rPr>
                        <a:t>2021</a:t>
                      </a:r>
                    </a:p>
                  </a:txBody>
                  <a:tcPr marL="5948" marR="5948" marT="5948" marB="0" anchor="b">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solidFill>
                      <a:srgbClr val="DDEBF7"/>
                    </a:solidFill>
                  </a:tcPr>
                </a:tc>
                <a:tc>
                  <a:txBody>
                    <a:bodyPr/>
                    <a:lstStyle/>
                    <a:p>
                      <a:pPr algn="ctr" fontAlgn="b"/>
                      <a:r>
                        <a:rPr lang="en-US" sz="600" b="1" i="0" u="none" strike="noStrike">
                          <a:solidFill>
                            <a:srgbClr val="000000"/>
                          </a:solidFill>
                          <a:effectLst/>
                          <a:latin typeface="Arial" panose="020B0604020202020204" pitchFamily="34" charset="0"/>
                        </a:rPr>
                        <a:t>2019</a:t>
                      </a:r>
                    </a:p>
                  </a:txBody>
                  <a:tcPr marL="5948" marR="5948" marT="5948" marB="0" anchor="b">
                    <a:lnL w="6350" cap="flat" cmpd="sng" algn="ctr">
                      <a:solidFill>
                        <a:srgbClr val="A6A6A6"/>
                      </a:solidFill>
                      <a:prstDash val="solid"/>
                      <a:round/>
                      <a:headEnd type="none" w="med" len="med"/>
                      <a:tailEnd type="none" w="med" len="med"/>
                    </a:lnL>
                    <a:lnR>
                      <a:noFill/>
                    </a:lnR>
                    <a:lnT>
                      <a:noFill/>
                    </a:lnT>
                    <a:lnB w="6350" cap="flat" cmpd="sng" algn="ctr">
                      <a:solidFill>
                        <a:srgbClr val="A6A6A6"/>
                      </a:solidFill>
                      <a:prstDash val="solid"/>
                      <a:round/>
                      <a:headEnd type="none" w="med" len="med"/>
                      <a:tailEnd type="none" w="med" len="med"/>
                    </a:lnB>
                  </a:tcPr>
                </a:tc>
                <a:tc>
                  <a:txBody>
                    <a:bodyPr/>
                    <a:lstStyle/>
                    <a:p>
                      <a:pPr algn="ctr" fontAlgn="b"/>
                      <a:r>
                        <a:rPr lang="en-US" sz="600" b="1" i="0" u="none" strike="noStrike">
                          <a:solidFill>
                            <a:srgbClr val="000000"/>
                          </a:solidFill>
                          <a:effectLst/>
                          <a:latin typeface="Arial" panose="020B0604020202020204" pitchFamily="34" charset="0"/>
                        </a:rPr>
                        <a:t>2020</a:t>
                      </a:r>
                    </a:p>
                  </a:txBody>
                  <a:tcPr marL="5948" marR="5948" marT="5948" marB="0" anchor="b">
                    <a:lnL>
                      <a:noFill/>
                    </a:lnL>
                    <a:lnR>
                      <a:noFill/>
                    </a:lnR>
                    <a:lnT>
                      <a:noFill/>
                    </a:lnT>
                    <a:lnB w="6350" cap="flat" cmpd="sng" algn="ctr">
                      <a:solidFill>
                        <a:srgbClr val="A6A6A6"/>
                      </a:solidFill>
                      <a:prstDash val="solid"/>
                      <a:round/>
                      <a:headEnd type="none" w="med" len="med"/>
                      <a:tailEnd type="none" w="med" len="med"/>
                    </a:lnB>
                  </a:tcPr>
                </a:tc>
                <a:tc>
                  <a:txBody>
                    <a:bodyPr/>
                    <a:lstStyle/>
                    <a:p>
                      <a:pPr algn="ctr" fontAlgn="b"/>
                      <a:r>
                        <a:rPr lang="en-US" sz="600" b="1" i="0" u="none" strike="noStrike">
                          <a:solidFill>
                            <a:srgbClr val="000000"/>
                          </a:solidFill>
                          <a:effectLst/>
                          <a:latin typeface="Arial" panose="020B0604020202020204" pitchFamily="34" charset="0"/>
                        </a:rPr>
                        <a:t>2021</a:t>
                      </a:r>
                    </a:p>
                  </a:txBody>
                  <a:tcPr marL="5948" marR="5948" marT="5948" marB="0" anchor="b">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solidFill>
                      <a:srgbClr val="DDEBF7"/>
                    </a:solidFill>
                  </a:tcPr>
                </a:tc>
                <a:tc>
                  <a:txBody>
                    <a:bodyPr/>
                    <a:lstStyle/>
                    <a:p>
                      <a:pPr algn="ctr" fontAlgn="b"/>
                      <a:r>
                        <a:rPr lang="en-US" sz="600" b="1" i="0" u="none" strike="noStrike">
                          <a:solidFill>
                            <a:srgbClr val="000000"/>
                          </a:solidFill>
                          <a:effectLst/>
                          <a:latin typeface="Arial" panose="020B0604020202020204" pitchFamily="34" charset="0"/>
                        </a:rPr>
                        <a:t>2019</a:t>
                      </a:r>
                    </a:p>
                  </a:txBody>
                  <a:tcPr marL="5948" marR="5948" marT="5948" marB="0" anchor="b">
                    <a:lnL w="6350" cap="flat" cmpd="sng" algn="ctr">
                      <a:solidFill>
                        <a:srgbClr val="A6A6A6"/>
                      </a:solidFill>
                      <a:prstDash val="solid"/>
                      <a:round/>
                      <a:headEnd type="none" w="med" len="med"/>
                      <a:tailEnd type="none" w="med" len="med"/>
                    </a:lnL>
                    <a:lnR>
                      <a:noFill/>
                    </a:lnR>
                    <a:lnT>
                      <a:noFill/>
                    </a:lnT>
                    <a:lnB w="6350" cap="flat" cmpd="sng" algn="ctr">
                      <a:solidFill>
                        <a:srgbClr val="A6A6A6"/>
                      </a:solidFill>
                      <a:prstDash val="solid"/>
                      <a:round/>
                      <a:headEnd type="none" w="med" len="med"/>
                      <a:tailEnd type="none" w="med" len="med"/>
                    </a:lnB>
                  </a:tcPr>
                </a:tc>
                <a:tc>
                  <a:txBody>
                    <a:bodyPr/>
                    <a:lstStyle/>
                    <a:p>
                      <a:pPr algn="ctr" fontAlgn="b"/>
                      <a:r>
                        <a:rPr lang="en-US" sz="600" b="1" i="0" u="none" strike="noStrike">
                          <a:solidFill>
                            <a:srgbClr val="000000"/>
                          </a:solidFill>
                          <a:effectLst/>
                          <a:latin typeface="Arial" panose="020B0604020202020204" pitchFamily="34" charset="0"/>
                        </a:rPr>
                        <a:t>2020</a:t>
                      </a:r>
                    </a:p>
                  </a:txBody>
                  <a:tcPr marL="5948" marR="5948" marT="5948" marB="0" anchor="b">
                    <a:lnL>
                      <a:noFill/>
                    </a:lnL>
                    <a:lnR>
                      <a:noFill/>
                    </a:lnR>
                    <a:lnT>
                      <a:noFill/>
                    </a:lnT>
                    <a:lnB w="6350" cap="flat" cmpd="sng" algn="ctr">
                      <a:solidFill>
                        <a:srgbClr val="A6A6A6"/>
                      </a:solidFill>
                      <a:prstDash val="solid"/>
                      <a:round/>
                      <a:headEnd type="none" w="med" len="med"/>
                      <a:tailEnd type="none" w="med" len="med"/>
                    </a:lnB>
                  </a:tcPr>
                </a:tc>
                <a:tc>
                  <a:txBody>
                    <a:bodyPr/>
                    <a:lstStyle/>
                    <a:p>
                      <a:pPr algn="ctr" fontAlgn="b"/>
                      <a:r>
                        <a:rPr lang="en-US" sz="600" b="1" i="0" u="none" strike="noStrike">
                          <a:solidFill>
                            <a:srgbClr val="000000"/>
                          </a:solidFill>
                          <a:effectLst/>
                          <a:latin typeface="Arial" panose="020B0604020202020204" pitchFamily="34" charset="0"/>
                        </a:rPr>
                        <a:t>2021</a:t>
                      </a:r>
                    </a:p>
                  </a:txBody>
                  <a:tcPr marL="5948" marR="5948" marT="5948" marB="0" anchor="b">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solidFill>
                      <a:srgbClr val="DDEBF7"/>
                    </a:solidFill>
                  </a:tcPr>
                </a:tc>
                <a:tc>
                  <a:txBody>
                    <a:bodyPr/>
                    <a:lstStyle/>
                    <a:p>
                      <a:pPr algn="ctr" fontAlgn="b"/>
                      <a:r>
                        <a:rPr lang="en-US" sz="600" b="1" i="0" u="none" strike="noStrike">
                          <a:solidFill>
                            <a:srgbClr val="000000"/>
                          </a:solidFill>
                          <a:effectLst/>
                          <a:latin typeface="Arial" panose="020B0604020202020204" pitchFamily="34" charset="0"/>
                        </a:rPr>
                        <a:t>2019</a:t>
                      </a:r>
                    </a:p>
                  </a:txBody>
                  <a:tcPr marL="5948" marR="5948" marT="5948" marB="0" anchor="b">
                    <a:lnL w="6350" cap="flat" cmpd="sng" algn="ctr">
                      <a:solidFill>
                        <a:srgbClr val="A6A6A6"/>
                      </a:solidFill>
                      <a:prstDash val="solid"/>
                      <a:round/>
                      <a:headEnd type="none" w="med" len="med"/>
                      <a:tailEnd type="none" w="med" len="med"/>
                    </a:lnL>
                    <a:lnR>
                      <a:noFill/>
                    </a:lnR>
                    <a:lnT>
                      <a:noFill/>
                    </a:lnT>
                    <a:lnB w="6350" cap="flat" cmpd="sng" algn="ctr">
                      <a:solidFill>
                        <a:srgbClr val="A6A6A6"/>
                      </a:solidFill>
                      <a:prstDash val="solid"/>
                      <a:round/>
                      <a:headEnd type="none" w="med" len="med"/>
                      <a:tailEnd type="none" w="med" len="med"/>
                    </a:lnB>
                  </a:tcPr>
                </a:tc>
                <a:tc>
                  <a:txBody>
                    <a:bodyPr/>
                    <a:lstStyle/>
                    <a:p>
                      <a:pPr algn="ctr" fontAlgn="b"/>
                      <a:r>
                        <a:rPr lang="en-US" sz="600" b="1" i="0" u="none" strike="noStrike">
                          <a:solidFill>
                            <a:srgbClr val="000000"/>
                          </a:solidFill>
                          <a:effectLst/>
                          <a:latin typeface="Arial" panose="020B0604020202020204" pitchFamily="34" charset="0"/>
                        </a:rPr>
                        <a:t>2020</a:t>
                      </a:r>
                    </a:p>
                  </a:txBody>
                  <a:tcPr marL="5948" marR="5948" marT="5948" marB="0" anchor="b">
                    <a:lnL>
                      <a:noFill/>
                    </a:lnL>
                    <a:lnR>
                      <a:noFill/>
                    </a:lnR>
                    <a:lnT>
                      <a:noFill/>
                    </a:lnT>
                    <a:lnB w="6350" cap="flat" cmpd="sng" algn="ctr">
                      <a:solidFill>
                        <a:srgbClr val="A6A6A6"/>
                      </a:solidFill>
                      <a:prstDash val="solid"/>
                      <a:round/>
                      <a:headEnd type="none" w="med" len="med"/>
                      <a:tailEnd type="none" w="med" len="med"/>
                    </a:lnB>
                  </a:tcPr>
                </a:tc>
                <a:tc>
                  <a:txBody>
                    <a:bodyPr/>
                    <a:lstStyle/>
                    <a:p>
                      <a:pPr algn="ctr" fontAlgn="b"/>
                      <a:r>
                        <a:rPr lang="en-US" sz="600" b="1" i="0" u="none" strike="noStrike">
                          <a:solidFill>
                            <a:srgbClr val="000000"/>
                          </a:solidFill>
                          <a:effectLst/>
                          <a:latin typeface="Arial" panose="020B0604020202020204" pitchFamily="34" charset="0"/>
                        </a:rPr>
                        <a:t>2021</a:t>
                      </a:r>
                    </a:p>
                  </a:txBody>
                  <a:tcPr marL="5948" marR="5948" marT="5948" marB="0" anchor="b">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solidFill>
                      <a:srgbClr val="DDEBF7"/>
                    </a:solidFill>
                  </a:tcPr>
                </a:tc>
                <a:tc>
                  <a:txBody>
                    <a:bodyPr/>
                    <a:lstStyle/>
                    <a:p>
                      <a:pPr algn="ctr" fontAlgn="b"/>
                      <a:r>
                        <a:rPr lang="en-US" sz="600" b="1" i="0" u="none" strike="noStrike">
                          <a:solidFill>
                            <a:srgbClr val="000000"/>
                          </a:solidFill>
                          <a:effectLst/>
                          <a:latin typeface="Arial" panose="020B0604020202020204" pitchFamily="34" charset="0"/>
                        </a:rPr>
                        <a:t>2019</a:t>
                      </a:r>
                    </a:p>
                  </a:txBody>
                  <a:tcPr marL="5948" marR="5948" marT="5948" marB="0" anchor="b">
                    <a:lnL w="6350" cap="flat" cmpd="sng" algn="ctr">
                      <a:solidFill>
                        <a:srgbClr val="A6A6A6"/>
                      </a:solidFill>
                      <a:prstDash val="solid"/>
                      <a:round/>
                      <a:headEnd type="none" w="med" len="med"/>
                      <a:tailEnd type="none" w="med" len="med"/>
                    </a:lnL>
                    <a:lnR>
                      <a:noFill/>
                    </a:lnR>
                    <a:lnT>
                      <a:noFill/>
                    </a:lnT>
                    <a:lnB w="6350" cap="flat" cmpd="sng" algn="ctr">
                      <a:solidFill>
                        <a:srgbClr val="A6A6A6"/>
                      </a:solidFill>
                      <a:prstDash val="solid"/>
                      <a:round/>
                      <a:headEnd type="none" w="med" len="med"/>
                      <a:tailEnd type="none" w="med" len="med"/>
                    </a:lnB>
                  </a:tcPr>
                </a:tc>
                <a:tc>
                  <a:txBody>
                    <a:bodyPr/>
                    <a:lstStyle/>
                    <a:p>
                      <a:pPr algn="ctr" fontAlgn="b"/>
                      <a:r>
                        <a:rPr lang="en-US" sz="600" b="1" i="0" u="none" strike="noStrike">
                          <a:solidFill>
                            <a:srgbClr val="000000"/>
                          </a:solidFill>
                          <a:effectLst/>
                          <a:latin typeface="Arial" panose="020B0604020202020204" pitchFamily="34" charset="0"/>
                        </a:rPr>
                        <a:t>2020</a:t>
                      </a:r>
                    </a:p>
                  </a:txBody>
                  <a:tcPr marL="5948" marR="5948" marT="5948" marB="0" anchor="b">
                    <a:lnL>
                      <a:noFill/>
                    </a:lnL>
                    <a:lnR>
                      <a:noFill/>
                    </a:lnR>
                    <a:lnT>
                      <a:noFill/>
                    </a:lnT>
                    <a:lnB w="6350" cap="flat" cmpd="sng" algn="ctr">
                      <a:solidFill>
                        <a:srgbClr val="A6A6A6"/>
                      </a:solidFill>
                      <a:prstDash val="solid"/>
                      <a:round/>
                      <a:headEnd type="none" w="med" len="med"/>
                      <a:tailEnd type="none" w="med" len="med"/>
                    </a:lnB>
                  </a:tcPr>
                </a:tc>
                <a:tc>
                  <a:txBody>
                    <a:bodyPr/>
                    <a:lstStyle/>
                    <a:p>
                      <a:pPr algn="ctr" fontAlgn="b"/>
                      <a:r>
                        <a:rPr lang="en-US" sz="600" b="1" i="0" u="none" strike="noStrike">
                          <a:solidFill>
                            <a:srgbClr val="000000"/>
                          </a:solidFill>
                          <a:effectLst/>
                          <a:latin typeface="Arial" panose="020B0604020202020204" pitchFamily="34" charset="0"/>
                        </a:rPr>
                        <a:t>2021</a:t>
                      </a:r>
                    </a:p>
                  </a:txBody>
                  <a:tcPr marL="5948" marR="5948" marT="5948" marB="0" anchor="b">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solidFill>
                      <a:srgbClr val="DDEBF7"/>
                    </a:solidFill>
                  </a:tcPr>
                </a:tc>
                <a:extLst>
                  <a:ext uri="{0D108BD9-81ED-4DB2-BD59-A6C34878D82A}">
                    <a16:rowId xmlns:a16="http://schemas.microsoft.com/office/drawing/2014/main" val="10001"/>
                  </a:ext>
                </a:extLst>
              </a:tr>
              <a:tr h="270637">
                <a:tc>
                  <a:txBody>
                    <a:bodyPr/>
                    <a:lstStyle/>
                    <a:p>
                      <a:pPr algn="l" fontAlgn="t"/>
                      <a:r>
                        <a:rPr lang="en-US" sz="600" b="1" i="0" u="none" strike="noStrike">
                          <a:solidFill>
                            <a:srgbClr val="000000"/>
                          </a:solidFill>
                          <a:effectLst/>
                          <a:latin typeface="Arial" panose="020B0604020202020204" pitchFamily="34" charset="0"/>
                        </a:rPr>
                        <a:t>Core</a:t>
                      </a:r>
                    </a:p>
                  </a:txBody>
                  <a:tcPr marL="5948" marR="5948" marT="5948" marB="0">
                    <a:lnL>
                      <a:noFill/>
                    </a:lnL>
                    <a:lnR>
                      <a:noFill/>
                    </a:lnR>
                    <a:lnT w="6350" cap="flat" cmpd="sng" algn="ctr">
                      <a:solidFill>
                        <a:srgbClr val="D9D9D9"/>
                      </a:solidFill>
                      <a:prstDash val="solid"/>
                      <a:round/>
                      <a:headEnd type="none" w="med" len="med"/>
                      <a:tailEnd type="none" w="med" len="med"/>
                    </a:lnT>
                    <a:lnB>
                      <a:noFill/>
                    </a:lnB>
                  </a:tcPr>
                </a:tc>
                <a:tc>
                  <a:txBody>
                    <a:bodyPr/>
                    <a:lstStyle/>
                    <a:p>
                      <a:pPr algn="l" fontAlgn="t"/>
                      <a:r>
                        <a:rPr lang="en-US" sz="700" b="0" i="0" u="none" strike="noStrike">
                          <a:solidFill>
                            <a:srgbClr val="666666"/>
                          </a:solidFill>
                          <a:effectLst/>
                          <a:latin typeface="Arial" panose="020B0604020202020204" pitchFamily="34" charset="0"/>
                        </a:rPr>
                        <a:t>Comprehensive Diabetes Care: Hemoglobin A1c (HbA1c) Poor Control (&gt;9.0%)</a:t>
                      </a:r>
                    </a:p>
                  </a:txBody>
                  <a:tcPr marL="5948" marR="5948" marT="5948" marB="0">
                    <a:lnL>
                      <a:noFill/>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700" b="0" i="0" u="none" strike="noStrike">
                          <a:solidFill>
                            <a:srgbClr val="666666"/>
                          </a:solidFill>
                          <a:effectLst/>
                          <a:latin typeface="Arial" panose="020B0604020202020204" pitchFamily="34" charset="0"/>
                        </a:rPr>
                        <a:t>4</a:t>
                      </a:r>
                    </a:p>
                  </a:txBody>
                  <a:tcPr marL="5948" marR="5948" marT="5948" marB="0" anchor="ctr">
                    <a:lnL>
                      <a:noFill/>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1"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DEBF7"/>
                    </a:solidFill>
                  </a:tcPr>
                </a:tc>
                <a:extLst>
                  <a:ext uri="{0D108BD9-81ED-4DB2-BD59-A6C34878D82A}">
                    <a16:rowId xmlns:a16="http://schemas.microsoft.com/office/drawing/2014/main" val="10002"/>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CG-CAHPS (MHQP Version)</a:t>
                      </a:r>
                    </a:p>
                  </a:txBody>
                  <a:tcPr marL="5948" marR="5948" marT="5948" marB="0">
                    <a:lnL>
                      <a:noFill/>
                    </a:lnL>
                    <a:lnR>
                      <a:noFill/>
                    </a:lnR>
                    <a:lnT>
                      <a:noFill/>
                    </a:lnT>
                    <a:lnB>
                      <a:noFill/>
                    </a:lnB>
                    <a:solidFill>
                      <a:srgbClr val="F2F2F2"/>
                    </a:solidFill>
                  </a:tcPr>
                </a:tc>
                <a:tc>
                  <a:txBody>
                    <a:bodyPr/>
                    <a:lstStyle/>
                    <a:p>
                      <a:pPr algn="ctr" fontAlgn="ctr"/>
                      <a:r>
                        <a:rPr lang="en-US" sz="700" b="0" i="0" u="none" strike="noStrike">
                          <a:solidFill>
                            <a:srgbClr val="666666"/>
                          </a:solidFill>
                          <a:effectLst/>
                          <a:latin typeface="Arial" panose="020B0604020202020204" pitchFamily="34" charset="0"/>
                        </a:rPr>
                        <a:t>4</a:t>
                      </a:r>
                    </a:p>
                  </a:txBody>
                  <a:tcPr marL="5948" marR="5948" marT="5948" marB="0" anchor="ctr">
                    <a:lnL>
                      <a:noFill/>
                    </a:lnL>
                    <a:lnR>
                      <a:noFill/>
                    </a:lnR>
                    <a:lnT>
                      <a:noFill/>
                    </a:lnT>
                    <a:lnB>
                      <a:noFill/>
                    </a:lnB>
                    <a:solidFill>
                      <a:srgbClr val="F2F2F2"/>
                    </a:solidFill>
                  </a:tcPr>
                </a:tc>
                <a:tc>
                  <a:txBody>
                    <a:bodyPr/>
                    <a:lstStyle/>
                    <a:p>
                      <a:pPr algn="ctr" fontAlgn="ctr"/>
                      <a:r>
                        <a:rPr lang="en-US" sz="900" b="1" i="0" u="none" strike="noStrike">
                          <a:solidFill>
                            <a:srgbClr val="A6A6A6"/>
                          </a:solidFill>
                          <a:effectLst/>
                          <a:latin typeface="Arial" panose="020B060402020202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03"/>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Controlling High Blood Pressure</a:t>
                      </a:r>
                    </a:p>
                  </a:txBody>
                  <a:tcPr marL="5948" marR="5948" marT="5948" marB="0">
                    <a:lnL>
                      <a:noFill/>
                    </a:lnL>
                    <a:lnR>
                      <a:noFill/>
                    </a:lnR>
                    <a:lnT>
                      <a:noFill/>
                    </a:lnT>
                    <a:lnB>
                      <a:noFill/>
                    </a:lnB>
                  </a:tcPr>
                </a:tc>
                <a:tc>
                  <a:txBody>
                    <a:bodyPr/>
                    <a:lstStyle/>
                    <a:p>
                      <a:pPr algn="ctr" fontAlgn="ctr"/>
                      <a:r>
                        <a:rPr lang="en-US" sz="700" b="0" i="0" u="none" strike="noStrike">
                          <a:solidFill>
                            <a:srgbClr val="666666"/>
                          </a:solidFill>
                          <a:effectLst/>
                          <a:latin typeface="Arial" panose="020B0604020202020204" pitchFamily="34" charset="0"/>
                        </a:rPr>
                        <a:t>4</a:t>
                      </a:r>
                    </a:p>
                  </a:txBody>
                  <a:tcPr marL="5948" marR="5948" marT="5948" marB="0" anchor="ctr">
                    <a:lnL>
                      <a:noFill/>
                    </a:lnL>
                    <a:lnR>
                      <a:noFill/>
                    </a:lnR>
                    <a:lnT>
                      <a:noFill/>
                    </a:lnT>
                    <a:lnB>
                      <a:noFill/>
                    </a:lnB>
                  </a:tcPr>
                </a:tc>
                <a:tc>
                  <a:txBody>
                    <a:bodyPr/>
                    <a:lstStyle/>
                    <a:p>
                      <a:pPr algn="ctr" fontAlgn="ctr"/>
                      <a:r>
                        <a:rPr lang="en-US" sz="900" b="1"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04"/>
                  </a:ext>
                </a:extLst>
              </a:tr>
              <a:tr h="183518">
                <a:tc>
                  <a:txBody>
                    <a:bodyPr/>
                    <a:lstStyle/>
                    <a:p>
                      <a:pPr algn="l" fontAlgn="b"/>
                      <a:r>
                        <a:rPr lang="en-US" sz="700" b="0" i="0" u="none" strike="noStrike">
                          <a:solidFill>
                            <a:srgbClr val="000000"/>
                          </a:solidFill>
                          <a:effectLst/>
                          <a:latin typeface="Arial" panose="020B0604020202020204" pitchFamily="34" charset="0"/>
                        </a:rPr>
                        <a:t> </a:t>
                      </a:r>
                    </a:p>
                  </a:txBody>
                  <a:tcPr marL="5948" marR="5948" marT="5948" marB="0" anchor="b">
                    <a:lnL>
                      <a:noFill/>
                    </a:lnL>
                    <a:lnR>
                      <a:noFill/>
                    </a:lnR>
                    <a:lnT>
                      <a:noFill/>
                    </a:lnT>
                    <a:lnB w="6350" cap="flat" cmpd="sng" algn="ctr">
                      <a:solidFill>
                        <a:srgbClr val="A6A6A6"/>
                      </a:solidFill>
                      <a:prstDash val="solid"/>
                      <a:round/>
                      <a:headEnd type="none" w="med" len="med"/>
                      <a:tailEnd type="none" w="med" len="med"/>
                    </a:lnB>
                  </a:tcPr>
                </a:tc>
                <a:tc>
                  <a:txBody>
                    <a:bodyPr/>
                    <a:lstStyle/>
                    <a:p>
                      <a:pPr algn="l" fontAlgn="t"/>
                      <a:r>
                        <a:rPr lang="en-US" sz="700" b="0" i="0" u="none" strike="noStrike">
                          <a:solidFill>
                            <a:srgbClr val="666666"/>
                          </a:solidFill>
                          <a:effectLst/>
                          <a:latin typeface="Arial" panose="020B0604020202020204" pitchFamily="34" charset="0"/>
                        </a:rPr>
                        <a:t>Screening for Clinical Depression and Follow-Up Plan</a:t>
                      </a:r>
                    </a:p>
                  </a:txBody>
                  <a:tcPr marL="5948" marR="5948" marT="5948" marB="0">
                    <a:lnL>
                      <a:noFill/>
                    </a:lnL>
                    <a:lnR>
                      <a:noFill/>
                    </a:lnR>
                    <a:lnT>
                      <a:noFill/>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en-US" sz="700" b="0" i="0" u="none" strike="noStrike">
                          <a:solidFill>
                            <a:srgbClr val="666666"/>
                          </a:solidFill>
                          <a:effectLst/>
                          <a:latin typeface="Arial" panose="020B0604020202020204" pitchFamily="34" charset="0"/>
                        </a:rPr>
                        <a:t>3</a:t>
                      </a:r>
                    </a:p>
                  </a:txBody>
                  <a:tcPr marL="5948" marR="5948" marT="5948" marB="0" anchor="ctr">
                    <a:lnL>
                      <a:noFill/>
                    </a:lnL>
                    <a:lnR>
                      <a:noFill/>
                    </a:lnR>
                    <a:lnT>
                      <a:noFill/>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en-US" sz="900" b="1"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w="6350" cap="flat" cmpd="sng" algn="ctr">
                      <a:solidFill>
                        <a:srgbClr val="A6A6A6"/>
                      </a:solidFill>
                      <a:prstDash val="solid"/>
                      <a:round/>
                      <a:headEnd type="none" w="med" len="med"/>
                      <a:tailEnd type="none" w="med" len="med"/>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solidFill>
                      <a:srgbClr val="DDEBF7"/>
                    </a:solidFill>
                  </a:tcPr>
                </a:tc>
                <a:extLst>
                  <a:ext uri="{0D108BD9-81ED-4DB2-BD59-A6C34878D82A}">
                    <a16:rowId xmlns:a16="http://schemas.microsoft.com/office/drawing/2014/main" val="10005"/>
                  </a:ext>
                </a:extLst>
              </a:tr>
              <a:tr h="183518">
                <a:tc>
                  <a:txBody>
                    <a:bodyPr/>
                    <a:lstStyle/>
                    <a:p>
                      <a:pPr algn="l" fontAlgn="t"/>
                      <a:r>
                        <a:rPr lang="en-US" sz="600" b="1" i="0" u="none" strike="noStrike">
                          <a:solidFill>
                            <a:srgbClr val="000000"/>
                          </a:solidFill>
                          <a:effectLst/>
                          <a:latin typeface="Arial" panose="020B0604020202020204" pitchFamily="34" charset="0"/>
                        </a:rPr>
                        <a:t>Menu</a:t>
                      </a:r>
                    </a:p>
                  </a:txBody>
                  <a:tcPr marL="5948" marR="5948" marT="5948" marB="0">
                    <a:lnL>
                      <a:noFill/>
                    </a:lnL>
                    <a:lnR>
                      <a:noFill/>
                    </a:lnR>
                    <a:lnT w="6350" cap="flat" cmpd="sng" algn="ctr">
                      <a:solidFill>
                        <a:srgbClr val="A6A6A6"/>
                      </a:solidFill>
                      <a:prstDash val="solid"/>
                      <a:round/>
                      <a:headEnd type="none" w="med" len="med"/>
                      <a:tailEnd type="none" w="med" len="med"/>
                    </a:lnT>
                    <a:lnB>
                      <a:noFill/>
                    </a:lnB>
                  </a:tcPr>
                </a:tc>
                <a:tc>
                  <a:txBody>
                    <a:bodyPr/>
                    <a:lstStyle/>
                    <a:p>
                      <a:pPr algn="l" fontAlgn="t"/>
                      <a:r>
                        <a:rPr lang="en-US" sz="700" b="0" i="0" u="none" strike="noStrike">
                          <a:solidFill>
                            <a:srgbClr val="666666"/>
                          </a:solidFill>
                          <a:effectLst/>
                          <a:latin typeface="Arial" panose="020B0604020202020204" pitchFamily="34" charset="0"/>
                        </a:rPr>
                        <a:t>Comprehensive Diabetes Care: Blood Pressure Control (&lt;140/90 mm Hg)</a:t>
                      </a:r>
                    </a:p>
                  </a:txBody>
                  <a:tcPr marL="5948" marR="5948" marT="5948" marB="0">
                    <a:lnL>
                      <a:noFill/>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700" b="0" i="0" u="none" strike="noStrike">
                          <a:solidFill>
                            <a:srgbClr val="666666"/>
                          </a:solidFill>
                          <a:effectLst/>
                          <a:latin typeface="Arial" panose="020B0604020202020204" pitchFamily="34" charset="0"/>
                        </a:rPr>
                        <a:t>4</a:t>
                      </a:r>
                    </a:p>
                  </a:txBody>
                  <a:tcPr marL="5948" marR="5948" marT="5948" marB="0" anchor="ctr">
                    <a:lnL>
                      <a:noFill/>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1" i="0" u="none" strike="noStrike">
                          <a:solidFill>
                            <a:srgbClr val="A6A6A6"/>
                          </a:solidFill>
                          <a:effectLst/>
                          <a:latin typeface="Arial" panose="020B060402020202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w="6350" cap="flat" cmpd="sng" algn="ctr">
                      <a:solidFill>
                        <a:srgbClr val="A6A6A6"/>
                      </a:solidFill>
                      <a:prstDash val="solid"/>
                      <a:round/>
                      <a:headEnd type="none" w="med" len="med"/>
                      <a:tailEnd type="none" w="med" len="med"/>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a:noFill/>
                    </a:lnB>
                    <a:solidFill>
                      <a:srgbClr val="DDEBF7"/>
                    </a:solidFill>
                  </a:tcPr>
                </a:tc>
                <a:extLst>
                  <a:ext uri="{0D108BD9-81ED-4DB2-BD59-A6C34878D82A}">
                    <a16:rowId xmlns:a16="http://schemas.microsoft.com/office/drawing/2014/main" val="10006"/>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Immunizations for Adolescents (Combo 2)</a:t>
                      </a:r>
                    </a:p>
                  </a:txBody>
                  <a:tcPr marL="5948" marR="5948" marT="5948" marB="0">
                    <a:lnL>
                      <a:noFill/>
                    </a:lnL>
                    <a:lnR>
                      <a:noFill/>
                    </a:lnR>
                    <a:lnT>
                      <a:noFill/>
                    </a:lnT>
                    <a:lnB>
                      <a:noFill/>
                    </a:lnB>
                    <a:solidFill>
                      <a:srgbClr val="F2F2F2"/>
                    </a:solidFill>
                  </a:tcPr>
                </a:tc>
                <a:tc>
                  <a:txBody>
                    <a:bodyPr/>
                    <a:lstStyle/>
                    <a:p>
                      <a:pPr algn="ctr" fontAlgn="ctr"/>
                      <a:r>
                        <a:rPr lang="en-US" sz="700" b="0" i="0" u="none" strike="noStrike">
                          <a:solidFill>
                            <a:srgbClr val="666666"/>
                          </a:solidFill>
                          <a:effectLst/>
                          <a:latin typeface="Arial" panose="020B0604020202020204" pitchFamily="34" charset="0"/>
                        </a:rPr>
                        <a:t>4</a:t>
                      </a:r>
                    </a:p>
                  </a:txBody>
                  <a:tcPr marL="5948" marR="5948" marT="5948" marB="0" anchor="ctr">
                    <a:lnL>
                      <a:noFill/>
                    </a:lnL>
                    <a:lnR>
                      <a:noFill/>
                    </a:lnR>
                    <a:lnT>
                      <a:noFill/>
                    </a:lnT>
                    <a:lnB>
                      <a:noFill/>
                    </a:lnB>
                    <a:solidFill>
                      <a:srgbClr val="F2F2F2"/>
                    </a:solidFill>
                  </a:tcPr>
                </a:tc>
                <a:tc>
                  <a:txBody>
                    <a:bodyPr/>
                    <a:lstStyle/>
                    <a:p>
                      <a:pPr algn="ctr" fontAlgn="ctr"/>
                      <a:r>
                        <a:rPr lang="en-US" sz="900" b="1" i="0" u="none" strike="noStrike">
                          <a:solidFill>
                            <a:srgbClr val="A6A6A6"/>
                          </a:solidFill>
                          <a:effectLst/>
                          <a:latin typeface="Arial" panose="020B060402020202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07"/>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Breast Cancer Screening</a:t>
                      </a:r>
                    </a:p>
                  </a:txBody>
                  <a:tcPr marL="5948" marR="5948" marT="5948" marB="0">
                    <a:lnL>
                      <a:noFill/>
                    </a:lnL>
                    <a:lnR>
                      <a:noFill/>
                    </a:lnR>
                    <a:lnT>
                      <a:noFill/>
                    </a:lnT>
                    <a:lnB>
                      <a:noFill/>
                    </a:lnB>
                  </a:tcPr>
                </a:tc>
                <a:tc>
                  <a:txBody>
                    <a:bodyPr/>
                    <a:lstStyle/>
                    <a:p>
                      <a:pPr algn="ctr" fontAlgn="ctr"/>
                      <a:r>
                        <a:rPr lang="en-US" sz="700" b="0" i="0" u="none" strike="noStrike">
                          <a:solidFill>
                            <a:srgbClr val="666666"/>
                          </a:solidFill>
                          <a:effectLst/>
                          <a:latin typeface="Arial" panose="020B0604020202020204" pitchFamily="34" charset="0"/>
                        </a:rPr>
                        <a:t>3</a:t>
                      </a:r>
                    </a:p>
                  </a:txBody>
                  <a:tcPr marL="5948" marR="5948" marT="5948" marB="0" anchor="ctr">
                    <a:lnL>
                      <a:noFill/>
                    </a:lnL>
                    <a:lnR>
                      <a:noFill/>
                    </a:lnR>
                    <a:lnT>
                      <a:noFill/>
                    </a:lnT>
                    <a:lnB>
                      <a:noFill/>
                    </a:lnB>
                  </a:tcPr>
                </a:tc>
                <a:tc>
                  <a:txBody>
                    <a:bodyPr/>
                    <a:lstStyle/>
                    <a:p>
                      <a:pPr algn="ctr" fontAlgn="ctr"/>
                      <a:r>
                        <a:rPr lang="en-US" sz="900" b="1" i="0" u="none" strike="noStrike">
                          <a:solidFill>
                            <a:srgbClr val="ED7D31"/>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08"/>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Cervical Cancer Screening</a:t>
                      </a:r>
                    </a:p>
                  </a:txBody>
                  <a:tcPr marL="5948" marR="5948" marT="5948" marB="0">
                    <a:lnL>
                      <a:noFill/>
                    </a:lnL>
                    <a:lnR>
                      <a:noFill/>
                    </a:lnR>
                    <a:lnT>
                      <a:noFill/>
                    </a:lnT>
                    <a:lnB>
                      <a:noFill/>
                    </a:lnB>
                    <a:solidFill>
                      <a:srgbClr val="F2F2F2"/>
                    </a:solidFill>
                  </a:tcPr>
                </a:tc>
                <a:tc>
                  <a:txBody>
                    <a:bodyPr/>
                    <a:lstStyle/>
                    <a:p>
                      <a:pPr algn="ctr" fontAlgn="ctr"/>
                      <a:r>
                        <a:rPr lang="en-US" sz="700" b="0" i="0" u="none" strike="noStrike">
                          <a:solidFill>
                            <a:srgbClr val="666666"/>
                          </a:solidFill>
                          <a:effectLst/>
                          <a:latin typeface="Arial" panose="020B0604020202020204" pitchFamily="34" charset="0"/>
                        </a:rPr>
                        <a:t>3</a:t>
                      </a:r>
                    </a:p>
                  </a:txBody>
                  <a:tcPr marL="5948" marR="5948" marT="5948" marB="0" anchor="ctr">
                    <a:lnL>
                      <a:noFill/>
                    </a:lnL>
                    <a:lnR>
                      <a:noFill/>
                    </a:lnR>
                    <a:lnT>
                      <a:noFill/>
                    </a:lnT>
                    <a:lnB>
                      <a:noFill/>
                    </a:lnB>
                    <a:solidFill>
                      <a:srgbClr val="F2F2F2"/>
                    </a:solidFill>
                  </a:tcPr>
                </a:tc>
                <a:tc>
                  <a:txBody>
                    <a:bodyPr/>
                    <a:lstStyle/>
                    <a:p>
                      <a:pPr algn="ctr" fontAlgn="ctr"/>
                      <a:r>
                        <a:rPr lang="en-US" sz="900" b="1" i="0" u="none" strike="noStrike">
                          <a:solidFill>
                            <a:srgbClr val="ED7D31"/>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09"/>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Chlamydia Screening - Ages 16-24</a:t>
                      </a:r>
                    </a:p>
                  </a:txBody>
                  <a:tcPr marL="5948" marR="5948" marT="5948" marB="0">
                    <a:lnL>
                      <a:noFill/>
                    </a:lnL>
                    <a:lnR>
                      <a:noFill/>
                    </a:lnR>
                    <a:lnT>
                      <a:noFill/>
                    </a:lnT>
                    <a:lnB>
                      <a:noFill/>
                    </a:lnB>
                  </a:tcPr>
                </a:tc>
                <a:tc>
                  <a:txBody>
                    <a:bodyPr/>
                    <a:lstStyle/>
                    <a:p>
                      <a:pPr algn="ctr" fontAlgn="ctr"/>
                      <a:r>
                        <a:rPr lang="en-US" sz="700" b="0" i="0" u="none" strike="noStrike">
                          <a:solidFill>
                            <a:srgbClr val="666666"/>
                          </a:solidFill>
                          <a:effectLst/>
                          <a:latin typeface="Arial" panose="020B0604020202020204" pitchFamily="34" charset="0"/>
                        </a:rPr>
                        <a:t>3</a:t>
                      </a:r>
                    </a:p>
                  </a:txBody>
                  <a:tcPr marL="5948" marR="5948" marT="5948" marB="0" anchor="ctr">
                    <a:lnL>
                      <a:noFill/>
                    </a:lnL>
                    <a:lnR>
                      <a:noFill/>
                    </a:lnR>
                    <a:lnT>
                      <a:noFill/>
                    </a:lnT>
                    <a:lnB>
                      <a:noFill/>
                    </a:lnB>
                  </a:tcPr>
                </a:tc>
                <a:tc>
                  <a:txBody>
                    <a:bodyPr/>
                    <a:lstStyle/>
                    <a:p>
                      <a:pPr algn="ctr" fontAlgn="ctr"/>
                      <a:r>
                        <a:rPr lang="en-US" sz="900" b="1" i="0" u="none" strike="noStrike">
                          <a:solidFill>
                            <a:srgbClr val="ED7D31"/>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10"/>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Asthma Medication Ratio</a:t>
                      </a:r>
                    </a:p>
                  </a:txBody>
                  <a:tcPr marL="5948" marR="5948" marT="5948" marB="0">
                    <a:lnL>
                      <a:noFill/>
                    </a:lnL>
                    <a:lnR>
                      <a:noFill/>
                    </a:lnR>
                    <a:lnT>
                      <a:noFill/>
                    </a:lnT>
                    <a:lnB>
                      <a:noFill/>
                    </a:lnB>
                    <a:solidFill>
                      <a:srgbClr val="F2F2F2"/>
                    </a:solidFill>
                  </a:tcPr>
                </a:tc>
                <a:tc>
                  <a:txBody>
                    <a:bodyPr/>
                    <a:lstStyle/>
                    <a:p>
                      <a:pPr algn="ctr" fontAlgn="ctr"/>
                      <a:r>
                        <a:rPr lang="en-US" sz="700" b="0" i="0" u="none" strike="noStrike">
                          <a:solidFill>
                            <a:srgbClr val="666666"/>
                          </a:solidFill>
                          <a:effectLst/>
                          <a:latin typeface="Arial" panose="020B0604020202020204" pitchFamily="34" charset="0"/>
                        </a:rPr>
                        <a:t>3</a:t>
                      </a:r>
                    </a:p>
                  </a:txBody>
                  <a:tcPr marL="5948" marR="5948" marT="5948" marB="0" anchor="ctr">
                    <a:lnL>
                      <a:noFill/>
                    </a:lnL>
                    <a:lnR>
                      <a:noFill/>
                    </a:lnR>
                    <a:lnT>
                      <a:noFill/>
                    </a:lnT>
                    <a:lnB>
                      <a:noFill/>
                    </a:lnB>
                    <a:solidFill>
                      <a:srgbClr val="F2F2F2"/>
                    </a:solidFill>
                  </a:tcPr>
                </a:tc>
                <a:tc>
                  <a:txBody>
                    <a:bodyPr/>
                    <a:lstStyle/>
                    <a:p>
                      <a:pPr algn="ctr" fontAlgn="ctr"/>
                      <a:r>
                        <a:rPr lang="en-US" sz="900" b="1" i="0" u="none" strike="noStrike">
                          <a:solidFill>
                            <a:srgbClr val="A6A6A6"/>
                          </a:solidFill>
                          <a:effectLst/>
                          <a:latin typeface="Arial" panose="020B060402020202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11"/>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Use of Imaging Studies for Low Back Pain</a:t>
                      </a:r>
                    </a:p>
                  </a:txBody>
                  <a:tcPr marL="5948" marR="5948" marT="5948" marB="0">
                    <a:lnL>
                      <a:noFill/>
                    </a:lnL>
                    <a:lnR>
                      <a:noFill/>
                    </a:lnR>
                    <a:lnT>
                      <a:noFill/>
                    </a:lnT>
                    <a:lnB>
                      <a:noFill/>
                    </a:lnB>
                  </a:tcPr>
                </a:tc>
                <a:tc>
                  <a:txBody>
                    <a:bodyPr/>
                    <a:lstStyle/>
                    <a:p>
                      <a:pPr algn="ctr" fontAlgn="ctr"/>
                      <a:r>
                        <a:rPr lang="en-US" sz="700" b="0" i="0" u="none" strike="noStrike">
                          <a:solidFill>
                            <a:srgbClr val="666666"/>
                          </a:solidFill>
                          <a:effectLst/>
                          <a:latin typeface="Arial" panose="020B0604020202020204" pitchFamily="34" charset="0"/>
                        </a:rPr>
                        <a:t>3</a:t>
                      </a:r>
                    </a:p>
                  </a:txBody>
                  <a:tcPr marL="5948" marR="5948" marT="5948" marB="0" anchor="ctr">
                    <a:lnL>
                      <a:noFill/>
                    </a:lnL>
                    <a:lnR>
                      <a:noFill/>
                    </a:lnR>
                    <a:lnT>
                      <a:noFill/>
                    </a:lnT>
                    <a:lnB>
                      <a:noFill/>
                    </a:lnB>
                  </a:tcPr>
                </a:tc>
                <a:tc>
                  <a:txBody>
                    <a:bodyPr/>
                    <a:lstStyle/>
                    <a:p>
                      <a:pPr algn="ctr" fontAlgn="ctr"/>
                      <a:r>
                        <a:rPr lang="en-US" sz="900" b="1" i="0" u="none" strike="noStrike">
                          <a:solidFill>
                            <a:srgbClr val="A6A6A6"/>
                          </a:solidFill>
                          <a:effectLst/>
                          <a:latin typeface="Arial" panose="020B060402020202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12"/>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Childhood Immunization Status (Combo 10)</a:t>
                      </a:r>
                    </a:p>
                  </a:txBody>
                  <a:tcPr marL="5948" marR="5948" marT="5948" marB="0">
                    <a:lnL>
                      <a:noFill/>
                    </a:lnL>
                    <a:lnR>
                      <a:noFill/>
                    </a:lnR>
                    <a:lnT>
                      <a:noFill/>
                    </a:lnT>
                    <a:lnB>
                      <a:noFill/>
                    </a:lnB>
                    <a:solidFill>
                      <a:srgbClr val="F2F2F2"/>
                    </a:solidFill>
                  </a:tcPr>
                </a:tc>
                <a:tc>
                  <a:txBody>
                    <a:bodyPr/>
                    <a:lstStyle/>
                    <a:p>
                      <a:pPr algn="ctr" fontAlgn="ctr"/>
                      <a:r>
                        <a:rPr lang="en-US" sz="700" b="0" i="0" u="none" strike="noStrike">
                          <a:solidFill>
                            <a:srgbClr val="666666"/>
                          </a:solidFill>
                          <a:effectLst/>
                          <a:latin typeface="Arial" panose="020B0604020202020204" pitchFamily="34" charset="0"/>
                        </a:rPr>
                        <a:t>3</a:t>
                      </a:r>
                    </a:p>
                  </a:txBody>
                  <a:tcPr marL="5948" marR="5948" marT="5948" marB="0" anchor="ctr">
                    <a:lnL>
                      <a:noFill/>
                    </a:lnL>
                    <a:lnR>
                      <a:noFill/>
                    </a:lnR>
                    <a:lnT>
                      <a:noFill/>
                    </a:lnT>
                    <a:lnB>
                      <a:noFill/>
                    </a:lnB>
                    <a:solidFill>
                      <a:srgbClr val="F2F2F2"/>
                    </a:solidFill>
                  </a:tcPr>
                </a:tc>
                <a:tc>
                  <a:txBody>
                    <a:bodyPr/>
                    <a:lstStyle/>
                    <a:p>
                      <a:pPr algn="ctr" fontAlgn="ctr"/>
                      <a:r>
                        <a:rPr lang="en-US" sz="900" b="1"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13"/>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Colorectal Cancer Screening</a:t>
                      </a:r>
                    </a:p>
                  </a:txBody>
                  <a:tcPr marL="5948" marR="5948" marT="5948" marB="0">
                    <a:lnL>
                      <a:noFill/>
                    </a:lnL>
                    <a:lnR>
                      <a:noFill/>
                    </a:lnR>
                    <a:lnT>
                      <a:noFill/>
                    </a:lnT>
                    <a:lnB>
                      <a:noFill/>
                    </a:lnB>
                  </a:tcPr>
                </a:tc>
                <a:tc>
                  <a:txBody>
                    <a:bodyPr/>
                    <a:lstStyle/>
                    <a:p>
                      <a:pPr algn="ctr" fontAlgn="ctr"/>
                      <a:r>
                        <a:rPr lang="en-US" sz="700" b="0" i="0" u="none" strike="noStrike">
                          <a:solidFill>
                            <a:srgbClr val="666666"/>
                          </a:solidFill>
                          <a:effectLst/>
                          <a:latin typeface="Arial" panose="020B0604020202020204" pitchFamily="34" charset="0"/>
                        </a:rPr>
                        <a:t>3</a:t>
                      </a:r>
                    </a:p>
                  </a:txBody>
                  <a:tcPr marL="5948" marR="5948" marT="5948" marB="0" anchor="ctr">
                    <a:lnL>
                      <a:noFill/>
                    </a:lnL>
                    <a:lnR>
                      <a:noFill/>
                    </a:lnR>
                    <a:lnT>
                      <a:noFill/>
                    </a:lnT>
                    <a:lnB>
                      <a:noFill/>
                    </a:lnB>
                  </a:tcPr>
                </a:tc>
                <a:tc>
                  <a:txBody>
                    <a:bodyPr/>
                    <a:lstStyle/>
                    <a:p>
                      <a:pPr algn="ctr" fontAlgn="ctr"/>
                      <a:r>
                        <a:rPr lang="en-US" sz="900" b="1" i="0" u="none" strike="noStrike">
                          <a:solidFill>
                            <a:srgbClr val="A6A6A6"/>
                          </a:solidFill>
                          <a:effectLst/>
                          <a:latin typeface="Arial" panose="020B060402020202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14"/>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Comprehensive Diabetes Care: Eye Exam</a:t>
                      </a:r>
                    </a:p>
                  </a:txBody>
                  <a:tcPr marL="5948" marR="5948" marT="5948" marB="0">
                    <a:lnL>
                      <a:noFill/>
                    </a:lnL>
                    <a:lnR>
                      <a:noFill/>
                    </a:lnR>
                    <a:lnT>
                      <a:noFill/>
                    </a:lnT>
                    <a:lnB>
                      <a:noFill/>
                    </a:lnB>
                    <a:solidFill>
                      <a:srgbClr val="F2F2F2"/>
                    </a:solidFill>
                  </a:tcPr>
                </a:tc>
                <a:tc>
                  <a:txBody>
                    <a:bodyPr/>
                    <a:lstStyle/>
                    <a:p>
                      <a:pPr algn="ctr" fontAlgn="ctr"/>
                      <a:r>
                        <a:rPr lang="en-US" sz="700" b="0" i="0" u="none" strike="noStrike">
                          <a:solidFill>
                            <a:srgbClr val="666666"/>
                          </a:solidFill>
                          <a:effectLst/>
                          <a:latin typeface="Arial" panose="020B0604020202020204" pitchFamily="34" charset="0"/>
                        </a:rPr>
                        <a:t>3</a:t>
                      </a:r>
                    </a:p>
                  </a:txBody>
                  <a:tcPr marL="5948" marR="5948" marT="5948" marB="0" anchor="ctr">
                    <a:lnL>
                      <a:noFill/>
                    </a:lnL>
                    <a:lnR>
                      <a:noFill/>
                    </a:lnR>
                    <a:lnT>
                      <a:noFill/>
                    </a:lnT>
                    <a:lnB>
                      <a:noFill/>
                    </a:lnB>
                    <a:solidFill>
                      <a:srgbClr val="F2F2F2"/>
                    </a:solidFill>
                  </a:tcPr>
                </a:tc>
                <a:tc>
                  <a:txBody>
                    <a:bodyPr/>
                    <a:lstStyle/>
                    <a:p>
                      <a:pPr algn="ctr" fontAlgn="ctr"/>
                      <a:r>
                        <a:rPr lang="en-US" sz="900" b="1" i="0" u="none" strike="noStrike">
                          <a:solidFill>
                            <a:srgbClr val="A6A6A6"/>
                          </a:solidFill>
                          <a:effectLst/>
                          <a:latin typeface="Arial" panose="020B060402020202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15"/>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Initiation and Engagement of Alcohol and Other Drug Dependence Treatment</a:t>
                      </a:r>
                    </a:p>
                  </a:txBody>
                  <a:tcPr marL="5948" marR="5948" marT="5948" marB="0">
                    <a:lnL>
                      <a:noFill/>
                    </a:lnL>
                    <a:lnR>
                      <a:noFill/>
                    </a:lnR>
                    <a:lnT>
                      <a:noFill/>
                    </a:lnT>
                    <a:lnB>
                      <a:noFill/>
                    </a:lnB>
                  </a:tcPr>
                </a:tc>
                <a:tc>
                  <a:txBody>
                    <a:bodyPr/>
                    <a:lstStyle/>
                    <a:p>
                      <a:pPr algn="ctr" fontAlgn="ctr"/>
                      <a:r>
                        <a:rPr lang="en-US" sz="700" b="0" i="0" u="none" strike="noStrike">
                          <a:solidFill>
                            <a:srgbClr val="666666"/>
                          </a:solidFill>
                          <a:effectLst/>
                          <a:latin typeface="Arial" panose="020B0604020202020204" pitchFamily="34" charset="0"/>
                        </a:rPr>
                        <a:t>4</a:t>
                      </a:r>
                    </a:p>
                  </a:txBody>
                  <a:tcPr marL="5948" marR="5948" marT="5948" marB="0" anchor="ctr">
                    <a:lnL>
                      <a:noFill/>
                    </a:lnL>
                    <a:lnR>
                      <a:noFill/>
                    </a:lnR>
                    <a:lnT>
                      <a:noFill/>
                    </a:lnT>
                    <a:lnB>
                      <a:noFill/>
                    </a:lnB>
                  </a:tcPr>
                </a:tc>
                <a:tc>
                  <a:txBody>
                    <a:bodyPr/>
                    <a:lstStyle/>
                    <a:p>
                      <a:pPr algn="ctr" fontAlgn="ctr"/>
                      <a:r>
                        <a:rPr lang="en-US" sz="900" b="1" i="0" u="none" strike="noStrike">
                          <a:solidFill>
                            <a:srgbClr val="A6A6A6"/>
                          </a:solidFill>
                          <a:effectLst/>
                          <a:latin typeface="Arial" panose="020B060402020202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16"/>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Follow-Up After Hospitalization for Mental Illness (7-Day)</a:t>
                      </a:r>
                    </a:p>
                  </a:txBody>
                  <a:tcPr marL="5948" marR="5948" marT="5948" marB="0">
                    <a:lnL>
                      <a:noFill/>
                    </a:lnL>
                    <a:lnR>
                      <a:noFill/>
                    </a:lnR>
                    <a:lnT>
                      <a:noFill/>
                    </a:lnT>
                    <a:lnB>
                      <a:noFill/>
                    </a:lnB>
                    <a:solidFill>
                      <a:srgbClr val="F2F2F2"/>
                    </a:solidFill>
                  </a:tcPr>
                </a:tc>
                <a:tc>
                  <a:txBody>
                    <a:bodyPr/>
                    <a:lstStyle/>
                    <a:p>
                      <a:pPr algn="ctr" fontAlgn="ctr"/>
                      <a:r>
                        <a:rPr lang="en-US" sz="700" b="0" i="0" u="none" strike="noStrike">
                          <a:solidFill>
                            <a:srgbClr val="666666"/>
                          </a:solidFill>
                          <a:effectLst/>
                          <a:latin typeface="Arial" panose="020B0604020202020204" pitchFamily="34" charset="0"/>
                        </a:rPr>
                        <a:t>1</a:t>
                      </a:r>
                    </a:p>
                  </a:txBody>
                  <a:tcPr marL="5948" marR="5948" marT="5948" marB="0" anchor="ctr">
                    <a:lnL>
                      <a:noFill/>
                    </a:lnL>
                    <a:lnR>
                      <a:noFill/>
                    </a:lnR>
                    <a:lnT>
                      <a:noFill/>
                    </a:lnT>
                    <a:lnB>
                      <a:noFill/>
                    </a:lnB>
                    <a:solidFill>
                      <a:srgbClr val="F2F2F2"/>
                    </a:solidFill>
                  </a:tcPr>
                </a:tc>
                <a:tc>
                  <a:txBody>
                    <a:bodyPr/>
                    <a:lstStyle/>
                    <a:p>
                      <a:pPr algn="ctr" fontAlgn="ctr"/>
                      <a:r>
                        <a:rPr lang="en-US" sz="900" b="1" i="0" u="none" strike="noStrike">
                          <a:solidFill>
                            <a:srgbClr val="ED7D31"/>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17"/>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Follow-up After Emergency Department Visit for Mental Health (7-Day)</a:t>
                      </a:r>
                    </a:p>
                  </a:txBody>
                  <a:tcPr marL="5948" marR="5948" marT="5948" marB="0">
                    <a:lnL>
                      <a:noFill/>
                    </a:lnL>
                    <a:lnR>
                      <a:noFill/>
                    </a:lnR>
                    <a:lnT>
                      <a:noFill/>
                    </a:lnT>
                    <a:lnB>
                      <a:noFill/>
                    </a:lnB>
                  </a:tcPr>
                </a:tc>
                <a:tc>
                  <a:txBody>
                    <a:bodyPr/>
                    <a:lstStyle/>
                    <a:p>
                      <a:pPr algn="ctr" fontAlgn="ctr"/>
                      <a:r>
                        <a:rPr lang="en-US" sz="700" b="0" i="0" u="none" strike="noStrike">
                          <a:solidFill>
                            <a:srgbClr val="666666"/>
                          </a:solidFill>
                          <a:effectLst/>
                          <a:latin typeface="Arial" panose="020B0604020202020204" pitchFamily="34" charset="0"/>
                        </a:rPr>
                        <a:t>1</a:t>
                      </a:r>
                    </a:p>
                  </a:txBody>
                  <a:tcPr marL="5948" marR="5948" marT="5948" marB="0" anchor="ctr">
                    <a:lnL>
                      <a:noFill/>
                    </a:lnL>
                    <a:lnR>
                      <a:noFill/>
                    </a:lnR>
                    <a:lnT>
                      <a:noFill/>
                    </a:lnT>
                    <a:lnB>
                      <a:noFill/>
                    </a:lnB>
                  </a:tcPr>
                </a:tc>
                <a:tc>
                  <a:txBody>
                    <a:bodyPr/>
                    <a:lstStyle/>
                    <a:p>
                      <a:pPr algn="ctr" fontAlgn="ctr"/>
                      <a:r>
                        <a:rPr lang="en-US" sz="900" b="1" i="0" u="none" strike="noStrike">
                          <a:solidFill>
                            <a:srgbClr val="A6A6A6"/>
                          </a:solidFill>
                          <a:effectLst/>
                          <a:latin typeface="Arial" panose="020B060402020202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18"/>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Influenza Immunization</a:t>
                      </a:r>
                    </a:p>
                  </a:txBody>
                  <a:tcPr marL="5948" marR="5948" marT="5948" marB="0">
                    <a:lnL>
                      <a:noFill/>
                    </a:lnL>
                    <a:lnR>
                      <a:noFill/>
                    </a:lnR>
                    <a:lnT>
                      <a:noFill/>
                    </a:lnT>
                    <a:lnB>
                      <a:noFill/>
                    </a:lnB>
                    <a:solidFill>
                      <a:srgbClr val="F2F2F2"/>
                    </a:solidFill>
                  </a:tcPr>
                </a:tc>
                <a:tc>
                  <a:txBody>
                    <a:bodyPr/>
                    <a:lstStyle/>
                    <a:p>
                      <a:pPr algn="ctr" fontAlgn="ctr"/>
                      <a:r>
                        <a:rPr lang="en-US" sz="700" b="0" i="0" u="none" strike="noStrike">
                          <a:solidFill>
                            <a:srgbClr val="666666"/>
                          </a:solidFill>
                          <a:effectLst/>
                          <a:latin typeface="Arial" panose="020B0604020202020204" pitchFamily="34" charset="0"/>
                        </a:rPr>
                        <a:t>1</a:t>
                      </a:r>
                    </a:p>
                  </a:txBody>
                  <a:tcPr marL="5948" marR="5948" marT="5948" marB="0" anchor="ctr">
                    <a:lnL>
                      <a:noFill/>
                    </a:lnL>
                    <a:lnR>
                      <a:noFill/>
                    </a:lnR>
                    <a:lnT>
                      <a:noFill/>
                    </a:lnT>
                    <a:lnB>
                      <a:noFill/>
                    </a:lnB>
                    <a:solidFill>
                      <a:srgbClr val="F2F2F2"/>
                    </a:solidFill>
                  </a:tcPr>
                </a:tc>
                <a:tc>
                  <a:txBody>
                    <a:bodyPr/>
                    <a:lstStyle/>
                    <a:p>
                      <a:pPr algn="ctr" fontAlgn="ctr"/>
                      <a:r>
                        <a:rPr lang="en-US" sz="900" b="1" i="0" u="none" strike="noStrike">
                          <a:solidFill>
                            <a:srgbClr val="A6A6A6"/>
                          </a:solidFill>
                          <a:effectLst/>
                          <a:latin typeface="Arial" panose="020B060402020202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19"/>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Metabolic Monitoring for Children and Adolescents on Antipsychotics</a:t>
                      </a:r>
                    </a:p>
                  </a:txBody>
                  <a:tcPr marL="5948" marR="5948" marT="5948" marB="0">
                    <a:lnL>
                      <a:noFill/>
                    </a:lnL>
                    <a:lnR>
                      <a:noFill/>
                    </a:lnR>
                    <a:lnT>
                      <a:noFill/>
                    </a:lnT>
                    <a:lnB>
                      <a:noFill/>
                    </a:lnB>
                  </a:tcPr>
                </a:tc>
                <a:tc>
                  <a:txBody>
                    <a:bodyPr/>
                    <a:lstStyle/>
                    <a:p>
                      <a:pPr algn="ctr" fontAlgn="ctr"/>
                      <a:r>
                        <a:rPr lang="en-US" sz="700" b="0" i="0" u="none" strike="noStrike">
                          <a:solidFill>
                            <a:srgbClr val="666666"/>
                          </a:solidFill>
                          <a:effectLst/>
                          <a:latin typeface="Arial" panose="020B0604020202020204" pitchFamily="34" charset="0"/>
                        </a:rPr>
                        <a:t>1</a:t>
                      </a:r>
                    </a:p>
                  </a:txBody>
                  <a:tcPr marL="5948" marR="5948" marT="5948" marB="0" anchor="ctr">
                    <a:lnL>
                      <a:noFill/>
                    </a:lnL>
                    <a:lnR>
                      <a:noFill/>
                    </a:lnR>
                    <a:lnT>
                      <a:noFill/>
                    </a:lnT>
                    <a:lnB>
                      <a:noFill/>
                    </a:lnB>
                  </a:tcPr>
                </a:tc>
                <a:tc>
                  <a:txBody>
                    <a:bodyPr/>
                    <a:lstStyle/>
                    <a:p>
                      <a:pPr algn="ctr" fontAlgn="ctr"/>
                      <a:r>
                        <a:rPr lang="en-US" sz="900" b="1" i="0" u="none" strike="noStrike">
                          <a:solidFill>
                            <a:srgbClr val="A6A6A6"/>
                          </a:solidFill>
                          <a:effectLst/>
                          <a:latin typeface="Arial" panose="020B060402020202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20"/>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Continuity of Pharmacotherapy for Opioid Use Disorder</a:t>
                      </a:r>
                    </a:p>
                  </a:txBody>
                  <a:tcPr marL="5948" marR="5948" marT="5948" marB="0">
                    <a:lnL>
                      <a:noFill/>
                    </a:lnL>
                    <a:lnR>
                      <a:noFill/>
                    </a:lnR>
                    <a:lnT>
                      <a:noFill/>
                    </a:lnT>
                    <a:lnB>
                      <a:noFill/>
                    </a:lnB>
                    <a:solidFill>
                      <a:srgbClr val="F2F2F2"/>
                    </a:solidFill>
                  </a:tcPr>
                </a:tc>
                <a:tc>
                  <a:txBody>
                    <a:bodyPr/>
                    <a:lstStyle/>
                    <a:p>
                      <a:pPr algn="ctr" fontAlgn="ctr"/>
                      <a:r>
                        <a:rPr lang="en-US" sz="700" b="0" i="0" u="none" strike="noStrike">
                          <a:solidFill>
                            <a:srgbClr val="666666"/>
                          </a:solidFill>
                          <a:effectLst/>
                          <a:latin typeface="Arial" panose="020B0604020202020204" pitchFamily="34" charset="0"/>
                        </a:rPr>
                        <a:t>1</a:t>
                      </a:r>
                    </a:p>
                  </a:txBody>
                  <a:tcPr marL="5948" marR="5948" marT="5948" marB="0" anchor="ctr">
                    <a:lnL>
                      <a:noFill/>
                    </a:lnL>
                    <a:lnR>
                      <a:noFill/>
                    </a:lnR>
                    <a:lnT>
                      <a:noFill/>
                    </a:lnT>
                    <a:lnB>
                      <a:noFill/>
                    </a:lnB>
                    <a:solidFill>
                      <a:srgbClr val="F2F2F2"/>
                    </a:solidFill>
                  </a:tcPr>
                </a:tc>
                <a:tc>
                  <a:txBody>
                    <a:bodyPr/>
                    <a:lstStyle/>
                    <a:p>
                      <a:pPr algn="ctr" fontAlgn="ctr"/>
                      <a:r>
                        <a:rPr lang="en-US" sz="900" b="1" i="0" u="none" strike="noStrike">
                          <a:solidFill>
                            <a:srgbClr val="A6A6A6"/>
                          </a:solidFill>
                          <a:effectLst/>
                          <a:latin typeface="Arial" panose="020B060402020202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21"/>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Follow-Up After Hospitalization for Mental Illness (30-Day)</a:t>
                      </a:r>
                    </a:p>
                  </a:txBody>
                  <a:tcPr marL="5948" marR="5948" marT="5948" marB="0">
                    <a:lnL>
                      <a:noFill/>
                    </a:lnL>
                    <a:lnR>
                      <a:noFill/>
                    </a:lnR>
                    <a:lnT>
                      <a:noFill/>
                    </a:lnT>
                    <a:lnB>
                      <a:noFill/>
                    </a:lnB>
                  </a:tcPr>
                </a:tc>
                <a:tc>
                  <a:txBody>
                    <a:bodyPr/>
                    <a:lstStyle/>
                    <a:p>
                      <a:pPr algn="ctr" fontAlgn="ctr"/>
                      <a:r>
                        <a:rPr lang="en-US" sz="700" b="0" i="0" u="none" strike="noStrike">
                          <a:solidFill>
                            <a:srgbClr val="666666"/>
                          </a:solidFill>
                          <a:effectLst/>
                          <a:latin typeface="Arial" panose="020B0604020202020204" pitchFamily="34" charset="0"/>
                        </a:rPr>
                        <a:t>1</a:t>
                      </a:r>
                    </a:p>
                  </a:txBody>
                  <a:tcPr marL="5948" marR="5948" marT="5948" marB="0" anchor="ctr">
                    <a:lnL>
                      <a:noFill/>
                    </a:lnL>
                    <a:lnR>
                      <a:noFill/>
                    </a:lnR>
                    <a:lnT>
                      <a:noFill/>
                    </a:lnT>
                    <a:lnB>
                      <a:noFill/>
                    </a:lnB>
                  </a:tcPr>
                </a:tc>
                <a:tc>
                  <a:txBody>
                    <a:bodyPr/>
                    <a:lstStyle/>
                    <a:p>
                      <a:pPr algn="ctr" fontAlgn="ctr"/>
                      <a:r>
                        <a:rPr lang="en-US" sz="900" b="1"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1F4E78"/>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22"/>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Child and Adolescent Major Depressive Disorder: Suicide Risk Assessment</a:t>
                      </a:r>
                    </a:p>
                  </a:txBody>
                  <a:tcPr marL="5948" marR="5948" marT="5948" marB="0">
                    <a:lnL>
                      <a:noFill/>
                    </a:lnL>
                    <a:lnR>
                      <a:noFill/>
                    </a:lnR>
                    <a:lnT>
                      <a:noFill/>
                    </a:lnT>
                    <a:lnB>
                      <a:noFill/>
                    </a:lnB>
                    <a:solidFill>
                      <a:srgbClr val="F2F2F2"/>
                    </a:solidFill>
                  </a:tcPr>
                </a:tc>
                <a:tc>
                  <a:txBody>
                    <a:bodyPr/>
                    <a:lstStyle/>
                    <a:p>
                      <a:pPr algn="ctr" fontAlgn="ctr"/>
                      <a:r>
                        <a:rPr lang="en-US" sz="700" b="0" i="0" u="none" strike="noStrike">
                          <a:solidFill>
                            <a:srgbClr val="666666"/>
                          </a:solidFill>
                          <a:effectLst/>
                          <a:latin typeface="Arial" panose="020B0604020202020204" pitchFamily="34" charset="0"/>
                        </a:rPr>
                        <a:t>0</a:t>
                      </a:r>
                    </a:p>
                  </a:txBody>
                  <a:tcPr marL="5948" marR="5948" marT="5948" marB="0" anchor="ctr">
                    <a:lnL>
                      <a:noFill/>
                    </a:lnL>
                    <a:lnR>
                      <a:noFill/>
                    </a:lnR>
                    <a:lnT>
                      <a:noFill/>
                    </a:lnT>
                    <a:lnB>
                      <a:noFill/>
                    </a:lnB>
                    <a:solidFill>
                      <a:srgbClr val="F2F2F2"/>
                    </a:solidFill>
                  </a:tcPr>
                </a:tc>
                <a:tc>
                  <a:txBody>
                    <a:bodyPr/>
                    <a:lstStyle/>
                    <a:p>
                      <a:pPr algn="ctr" fontAlgn="ctr"/>
                      <a:r>
                        <a:rPr lang="en-US" sz="900" b="1" i="0" u="none" strike="noStrike">
                          <a:solidFill>
                            <a:srgbClr val="A6A6A6"/>
                          </a:solidFill>
                          <a:effectLst/>
                          <a:latin typeface="Arial" panose="020B060402020202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23"/>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Informed, Patient-Centered Hip and Knee Replacement</a:t>
                      </a:r>
                    </a:p>
                  </a:txBody>
                  <a:tcPr marL="5948" marR="5948" marT="5948" marB="0">
                    <a:lnL>
                      <a:noFill/>
                    </a:lnL>
                    <a:lnR>
                      <a:noFill/>
                    </a:lnR>
                    <a:lnT>
                      <a:noFill/>
                    </a:lnT>
                    <a:lnB>
                      <a:noFill/>
                    </a:lnB>
                  </a:tcPr>
                </a:tc>
                <a:tc>
                  <a:txBody>
                    <a:bodyPr/>
                    <a:lstStyle/>
                    <a:p>
                      <a:pPr algn="ctr" fontAlgn="ctr"/>
                      <a:r>
                        <a:rPr lang="en-US" sz="700" b="0" i="0" u="none" strike="noStrike">
                          <a:solidFill>
                            <a:srgbClr val="666666"/>
                          </a:solidFill>
                          <a:effectLst/>
                          <a:latin typeface="Arial" panose="020B0604020202020204" pitchFamily="34" charset="0"/>
                        </a:rPr>
                        <a:t>0</a:t>
                      </a:r>
                    </a:p>
                  </a:txBody>
                  <a:tcPr marL="5948" marR="5948" marT="5948" marB="0" anchor="ctr">
                    <a:lnL>
                      <a:noFill/>
                    </a:lnL>
                    <a:lnR>
                      <a:noFill/>
                    </a:lnR>
                    <a:lnT>
                      <a:noFill/>
                    </a:lnT>
                    <a:lnB>
                      <a:noFill/>
                    </a:lnB>
                  </a:tcPr>
                </a:tc>
                <a:tc>
                  <a:txBody>
                    <a:bodyPr/>
                    <a:lstStyle/>
                    <a:p>
                      <a:pPr algn="ctr" fontAlgn="ctr"/>
                      <a:r>
                        <a:rPr lang="en-US" sz="600" b="0" i="0" u="none" strike="noStrike">
                          <a:solidFill>
                            <a:srgbClr val="666666"/>
                          </a:solidFill>
                          <a:effectLst/>
                          <a:latin typeface="Arial" panose="020B0604020202020204" pitchFamily="34" charset="0"/>
                        </a:rPr>
                        <a:t>N/A</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tcPr>
                </a:tc>
                <a:tc>
                  <a:txBody>
                    <a:bodyPr/>
                    <a:lstStyle/>
                    <a:p>
                      <a:pPr algn="ctr" fontAlgn="ctr"/>
                      <a:endParaRPr lang="en-US" sz="900" b="0" i="0" u="none" strike="noStrike">
                        <a:solidFill>
                          <a:srgbClr val="BFBFBF"/>
                        </a:solidFill>
                        <a:effectLst/>
                        <a:latin typeface="Calibri" panose="020F0502020204030204" pitchFamily="34" charset="0"/>
                      </a:endParaRP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endParaRPr lang="en-US" sz="900" b="0" i="0" u="none" strike="noStrike">
                        <a:solidFill>
                          <a:srgbClr val="BFBFBF"/>
                        </a:solidFill>
                        <a:effectLst/>
                        <a:latin typeface="Calibri" panose="020F0502020204030204" pitchFamily="34" charset="0"/>
                      </a:endParaRP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endParaRPr lang="en-US" sz="900" b="0" i="0" u="none" strike="noStrike">
                        <a:solidFill>
                          <a:srgbClr val="BFBFBF"/>
                        </a:solidFill>
                        <a:effectLst/>
                        <a:latin typeface="Calibri" panose="020F0502020204030204" pitchFamily="34" charset="0"/>
                      </a:endParaRP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tcPr>
                </a:tc>
                <a:tc>
                  <a:txBody>
                    <a:bodyPr/>
                    <a:lstStyle/>
                    <a:p>
                      <a:pPr algn="ctr" fontAlgn="ctr"/>
                      <a:endParaRPr lang="en-US" sz="900" b="0" i="0" u="none" strike="noStrike">
                        <a:solidFill>
                          <a:srgbClr val="BFBFBF"/>
                        </a:solidFill>
                        <a:effectLst/>
                        <a:latin typeface="Calibri" panose="020F0502020204030204" pitchFamily="34" charset="0"/>
                      </a:endParaRPr>
                    </a:p>
                  </a:txBody>
                  <a:tcPr marL="5948" marR="5948" marT="5948" marB="0" anchor="ctr">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5948" marR="5948" marT="5948" marB="0" anchor="b">
                    <a:lnL w="6350" cap="flat" cmpd="sng" algn="ctr">
                      <a:solidFill>
                        <a:srgbClr val="A6A6A6"/>
                      </a:solidFill>
                      <a:prstDash val="solid"/>
                      <a:round/>
                      <a:headEnd type="none" w="med" len="med"/>
                      <a:tailEnd type="none" w="med" len="med"/>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5948" marR="5948" marT="5948" marB="0" anchor="b">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5948" marR="5948" marT="5948" marB="0" anchor="b">
                    <a:lnL w="6350" cap="flat" cmpd="sng" algn="ctr">
                      <a:solidFill>
                        <a:srgbClr val="A6A6A6"/>
                      </a:solidFill>
                      <a:prstDash val="solid"/>
                      <a:round/>
                      <a:headEnd type="none" w="med" len="med"/>
                      <a:tailEnd type="none" w="med" len="med"/>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5948" marR="5948" marT="5948" marB="0" anchor="b">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5948" marR="5948" marT="5948" marB="0" anchor="b">
                    <a:lnL w="6350" cap="flat" cmpd="sng" algn="ctr">
                      <a:solidFill>
                        <a:srgbClr val="A6A6A6"/>
                      </a:solidFill>
                      <a:prstDash val="solid"/>
                      <a:round/>
                      <a:headEnd type="none" w="med" len="med"/>
                      <a:tailEnd type="none" w="med" len="med"/>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5948" marR="5948" marT="5948" marB="0" anchor="b">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l" fontAlgn="b"/>
                      <a:endParaRPr lang="en-US" sz="700" b="0" i="0" u="none" strike="noStrike">
                        <a:solidFill>
                          <a:srgbClr val="000000"/>
                        </a:solidFill>
                        <a:effectLst/>
                        <a:latin typeface="Calibri" panose="020F0502020204030204" pitchFamily="34" charset="0"/>
                      </a:endParaRPr>
                    </a:p>
                  </a:txBody>
                  <a:tcPr marL="5948" marR="5948" marT="5948" marB="0" anchor="b">
                    <a:lnL w="6350" cap="flat" cmpd="sng" algn="ctr">
                      <a:solidFill>
                        <a:srgbClr val="A6A6A6"/>
                      </a:solidFill>
                      <a:prstDash val="solid"/>
                      <a:round/>
                      <a:headEnd type="none" w="med" len="med"/>
                      <a:tailEnd type="none" w="med" len="med"/>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5948" marR="5948" marT="5948" marB="0" anchor="b">
                    <a:lnL>
                      <a:noFill/>
                    </a:lnL>
                    <a:lnR>
                      <a:noFill/>
                    </a:lnR>
                    <a:lnT>
                      <a:noFill/>
                    </a:lnT>
                    <a:lnB>
                      <a:noFill/>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24"/>
                  </a:ext>
                </a:extLst>
              </a:tr>
              <a:tr h="183518">
                <a:tc>
                  <a:txBody>
                    <a:bodyPr/>
                    <a:lstStyle/>
                    <a:p>
                      <a:pPr algn="l" fontAlgn="b"/>
                      <a:endParaRPr lang="en-US" sz="700" b="0" i="0" u="none" strike="noStrike">
                        <a:solidFill>
                          <a:srgbClr val="000000"/>
                        </a:solidFill>
                        <a:effectLst/>
                        <a:latin typeface="Arial" panose="020B0604020202020204" pitchFamily="34" charset="0"/>
                      </a:endParaRPr>
                    </a:p>
                  </a:txBody>
                  <a:tcPr marL="5948" marR="5948" marT="5948" marB="0" anchor="b">
                    <a:lnL>
                      <a:noFill/>
                    </a:lnL>
                    <a:lnR>
                      <a:noFill/>
                    </a:lnR>
                    <a:lnT>
                      <a:noFill/>
                    </a:lnT>
                    <a:lnB>
                      <a:noFill/>
                    </a:lnB>
                  </a:tcPr>
                </a:tc>
                <a:tc>
                  <a:txBody>
                    <a:bodyPr/>
                    <a:lstStyle/>
                    <a:p>
                      <a:pPr algn="l" fontAlgn="t"/>
                      <a:r>
                        <a:rPr lang="en-US" sz="700" b="0" i="0" u="none" strike="noStrike">
                          <a:solidFill>
                            <a:srgbClr val="666666"/>
                          </a:solidFill>
                          <a:effectLst/>
                          <a:latin typeface="Arial" panose="020B0604020202020204" pitchFamily="34" charset="0"/>
                        </a:rPr>
                        <a:t>Risk of Continued Opioid Use</a:t>
                      </a:r>
                    </a:p>
                  </a:txBody>
                  <a:tcPr marL="5948" marR="5948" marT="5948" marB="0">
                    <a:lnL>
                      <a:noFill/>
                    </a:lnL>
                    <a:lnR>
                      <a:noFill/>
                    </a:lnR>
                    <a:lnT>
                      <a:noFill/>
                    </a:lnT>
                    <a:lnB>
                      <a:noFill/>
                    </a:lnB>
                    <a:solidFill>
                      <a:srgbClr val="F2F2F2"/>
                    </a:solidFill>
                  </a:tcPr>
                </a:tc>
                <a:tc>
                  <a:txBody>
                    <a:bodyPr/>
                    <a:lstStyle/>
                    <a:p>
                      <a:pPr algn="ctr" fontAlgn="ctr"/>
                      <a:r>
                        <a:rPr lang="en-US" sz="700" b="0" i="0" u="none" strike="noStrike">
                          <a:solidFill>
                            <a:srgbClr val="666666"/>
                          </a:solidFill>
                          <a:effectLst/>
                          <a:latin typeface="Arial" panose="020B0604020202020204" pitchFamily="34" charset="0"/>
                        </a:rPr>
                        <a:t>0</a:t>
                      </a:r>
                    </a:p>
                  </a:txBody>
                  <a:tcPr marL="5948" marR="5948" marT="5948" marB="0" anchor="ctr">
                    <a:lnL>
                      <a:noFill/>
                    </a:lnL>
                    <a:lnR>
                      <a:noFill/>
                    </a:lnR>
                    <a:lnT>
                      <a:noFill/>
                    </a:lnT>
                    <a:lnB>
                      <a:noFill/>
                    </a:lnB>
                    <a:solidFill>
                      <a:srgbClr val="F2F2F2"/>
                    </a:solidFill>
                  </a:tcPr>
                </a:tc>
                <a:tc>
                  <a:txBody>
                    <a:bodyPr/>
                    <a:lstStyle/>
                    <a:p>
                      <a:pPr algn="ctr" fontAlgn="ctr"/>
                      <a:r>
                        <a:rPr lang="en-US" sz="600" b="0" i="0" u="none" strike="noStrike">
                          <a:solidFill>
                            <a:srgbClr val="666666"/>
                          </a:solidFill>
                          <a:effectLst/>
                          <a:latin typeface="Arial" panose="020B0604020202020204" pitchFamily="34" charset="0"/>
                        </a:rPr>
                        <a:t>N/A</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 </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 </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 </a:t>
                      </a:r>
                    </a:p>
                  </a:txBody>
                  <a:tcPr marL="5948" marR="5948" marT="5948" marB="0" anchor="ctr">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 </a:t>
                      </a:r>
                    </a:p>
                  </a:txBody>
                  <a:tcPr marL="5948" marR="5948" marT="5948" marB="0" anchor="ctr">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5948" marR="5948" marT="5948" marB="0" anchor="b">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5948" marR="5948" marT="5948" marB="0" anchor="b">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5948" marR="5948" marT="5948" marB="0" anchor="b">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5948" marR="5948" marT="5948" marB="0" anchor="b">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5948" marR="5948" marT="5948" marB="0" anchor="b">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5948" marR="5948" marT="5948" marB="0" anchor="b">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5948" marR="5948" marT="5948" marB="0" anchor="b">
                    <a:lnL w="6350" cap="flat" cmpd="sng" algn="ctr">
                      <a:solidFill>
                        <a:srgbClr val="A6A6A6"/>
                      </a:solidFill>
                      <a:prstDash val="solid"/>
                      <a:round/>
                      <a:headEnd type="none" w="med" len="med"/>
                      <a:tailEnd type="none" w="med" len="med"/>
                    </a:lnL>
                    <a:lnR>
                      <a:noFill/>
                    </a:lnR>
                    <a:lnT>
                      <a:noFill/>
                    </a:lnT>
                    <a:lnB>
                      <a:noFill/>
                    </a:lnB>
                    <a:solidFill>
                      <a:srgbClr val="F2F2F2"/>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5948" marR="5948" marT="5948" marB="0" anchor="b">
                    <a:lnL>
                      <a:noFill/>
                    </a:lnL>
                    <a:lnR>
                      <a:noFill/>
                    </a:lnR>
                    <a:lnT>
                      <a:noFill/>
                    </a:lnT>
                    <a:lnB>
                      <a:noFill/>
                    </a:lnB>
                    <a:solidFill>
                      <a:srgbClr val="F2F2F2"/>
                    </a:solidFill>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0025"/>
                  </a:ext>
                </a:extLst>
              </a:tr>
              <a:tr h="183518">
                <a:tc>
                  <a:txBody>
                    <a:bodyPr/>
                    <a:lstStyle/>
                    <a:p>
                      <a:pPr algn="l" fontAlgn="b"/>
                      <a:r>
                        <a:rPr lang="en-US" sz="700" b="0" i="0" u="none" strike="noStrike">
                          <a:solidFill>
                            <a:srgbClr val="000000"/>
                          </a:solidFill>
                          <a:effectLst/>
                          <a:latin typeface="Arial" panose="020B0604020202020204" pitchFamily="34" charset="0"/>
                        </a:rPr>
                        <a:t> </a:t>
                      </a:r>
                    </a:p>
                  </a:txBody>
                  <a:tcPr marL="5948" marR="5948" marT="5948" marB="0" anchor="b">
                    <a:lnL>
                      <a:noFill/>
                    </a:lnL>
                    <a:lnR>
                      <a:noFill/>
                    </a:lnR>
                    <a:lnT>
                      <a:noFill/>
                    </a:lnT>
                    <a:lnB w="6350" cap="flat" cmpd="sng" algn="ctr">
                      <a:solidFill>
                        <a:srgbClr val="A6A6A6"/>
                      </a:solidFill>
                      <a:prstDash val="solid"/>
                      <a:round/>
                      <a:headEnd type="none" w="med" len="med"/>
                      <a:tailEnd type="none" w="med" len="med"/>
                    </a:lnB>
                  </a:tcPr>
                </a:tc>
                <a:tc>
                  <a:txBody>
                    <a:bodyPr/>
                    <a:lstStyle/>
                    <a:p>
                      <a:pPr algn="l" fontAlgn="t"/>
                      <a:r>
                        <a:rPr lang="en-US" sz="700" b="0" i="0" u="none" strike="noStrike">
                          <a:solidFill>
                            <a:srgbClr val="666666"/>
                          </a:solidFill>
                          <a:effectLst/>
                          <a:latin typeface="Arial" panose="020B0604020202020204" pitchFamily="34" charset="0"/>
                        </a:rPr>
                        <a:t>Shared Decision-Making Process</a:t>
                      </a:r>
                    </a:p>
                  </a:txBody>
                  <a:tcPr marL="5948" marR="5948" marT="5948" marB="0">
                    <a:lnL>
                      <a:noFill/>
                    </a:lnL>
                    <a:lnR>
                      <a:noFill/>
                    </a:lnR>
                    <a:lnT>
                      <a:noFill/>
                    </a:lnT>
                    <a:lnB w="6350" cap="flat" cmpd="sng" algn="ctr">
                      <a:solidFill>
                        <a:srgbClr val="A6A6A6"/>
                      </a:solidFill>
                      <a:prstDash val="solid"/>
                      <a:round/>
                      <a:headEnd type="none" w="med" len="med"/>
                      <a:tailEnd type="none" w="med" len="med"/>
                    </a:lnB>
                  </a:tcPr>
                </a:tc>
                <a:tc>
                  <a:txBody>
                    <a:bodyPr/>
                    <a:lstStyle/>
                    <a:p>
                      <a:pPr algn="ctr" fontAlgn="ctr"/>
                      <a:r>
                        <a:rPr lang="en-US" sz="700" b="0" i="0" u="none" strike="noStrike">
                          <a:solidFill>
                            <a:srgbClr val="666666"/>
                          </a:solidFill>
                          <a:effectLst/>
                          <a:latin typeface="Arial" panose="020B0604020202020204" pitchFamily="34" charset="0"/>
                        </a:rPr>
                        <a:t>0</a:t>
                      </a:r>
                    </a:p>
                  </a:txBody>
                  <a:tcPr marL="5948" marR="5948" marT="5948" marB="0" anchor="ctr">
                    <a:lnL>
                      <a:noFill/>
                    </a:lnL>
                    <a:lnR>
                      <a:noFill/>
                    </a:lnR>
                    <a:lnT>
                      <a:noFill/>
                    </a:lnT>
                    <a:lnB w="6350" cap="flat" cmpd="sng" algn="ctr">
                      <a:solidFill>
                        <a:srgbClr val="A6A6A6"/>
                      </a:solidFill>
                      <a:prstDash val="solid"/>
                      <a:round/>
                      <a:headEnd type="none" w="med" len="med"/>
                      <a:tailEnd type="none" w="med" len="med"/>
                    </a:lnB>
                  </a:tcPr>
                </a:tc>
                <a:tc>
                  <a:txBody>
                    <a:bodyPr/>
                    <a:lstStyle/>
                    <a:p>
                      <a:pPr algn="ctr" fontAlgn="ctr"/>
                      <a:r>
                        <a:rPr lang="en-US" sz="600" b="0" i="0" u="none" strike="noStrike">
                          <a:solidFill>
                            <a:srgbClr val="666666"/>
                          </a:solidFill>
                          <a:effectLst/>
                          <a:latin typeface="Arial" panose="020B0604020202020204" pitchFamily="34" charset="0"/>
                        </a:rPr>
                        <a:t>N/A</a:t>
                      </a:r>
                    </a:p>
                  </a:txBody>
                  <a:tcPr marL="5948" marR="5948" marT="5948" marB="0" anchor="ctr">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tcPr>
                </a:tc>
                <a:tc>
                  <a:txBody>
                    <a:bodyPr/>
                    <a:lstStyle/>
                    <a:p>
                      <a:pPr algn="ctr" fontAlgn="ctr"/>
                      <a:r>
                        <a:rPr lang="en-US" sz="900" b="0" i="0" u="none" strike="noStrike">
                          <a:solidFill>
                            <a:srgbClr val="BFBFBF"/>
                          </a:solidFill>
                          <a:effectLst/>
                          <a:latin typeface="Calibri" panose="020F0502020204030204" pitchFamily="34" charset="0"/>
                        </a:rPr>
                        <a:t> </a:t>
                      </a:r>
                    </a:p>
                  </a:txBody>
                  <a:tcPr marL="5948" marR="5948" marT="5948" marB="0" anchor="ctr">
                    <a:lnL w="6350" cap="flat" cmpd="sng" algn="ctr">
                      <a:solidFill>
                        <a:srgbClr val="A6A6A6"/>
                      </a:solidFill>
                      <a:prstDash val="solid"/>
                      <a:round/>
                      <a:headEnd type="none" w="med" len="med"/>
                      <a:tailEnd type="none" w="med" len="med"/>
                    </a:lnL>
                    <a:lnR>
                      <a:noFill/>
                    </a:lnR>
                    <a:lnT>
                      <a:noFill/>
                    </a:lnT>
                    <a:lnB w="6350" cap="flat" cmpd="sng" algn="ctr">
                      <a:solidFill>
                        <a:srgbClr val="A6A6A6"/>
                      </a:solidFill>
                      <a:prstDash val="solid"/>
                      <a:round/>
                      <a:headEnd type="none" w="med" len="med"/>
                      <a:tailEnd type="none" w="med" len="med"/>
                    </a:lnB>
                  </a:tcPr>
                </a:tc>
                <a:tc>
                  <a:txBody>
                    <a:bodyPr/>
                    <a:lstStyle/>
                    <a:p>
                      <a:pPr algn="ctr" fontAlgn="ctr"/>
                      <a:r>
                        <a:rPr lang="en-US" sz="900" b="0" i="0" u="none" strike="noStrike">
                          <a:solidFill>
                            <a:srgbClr val="BFBFBF"/>
                          </a:solidFill>
                          <a:effectLst/>
                          <a:latin typeface="Calibri" panose="020F0502020204030204" pitchFamily="34" charset="0"/>
                        </a:rPr>
                        <a:t> </a:t>
                      </a:r>
                    </a:p>
                  </a:txBody>
                  <a:tcPr marL="5948" marR="5948" marT="5948" marB="0" anchor="ctr">
                    <a:lnL>
                      <a:noFill/>
                    </a:lnL>
                    <a:lnR>
                      <a:noFill/>
                    </a:lnR>
                    <a:lnT>
                      <a:noFill/>
                    </a:lnT>
                    <a:lnB w="6350" cap="flat" cmpd="sng" algn="ctr">
                      <a:solidFill>
                        <a:srgbClr val="A6A6A6"/>
                      </a:solidFill>
                      <a:prstDash val="solid"/>
                      <a:round/>
                      <a:headEnd type="none" w="med" len="med"/>
                      <a:tailEnd type="none" w="med" len="med"/>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solidFill>
                      <a:srgbClr val="DDEBF7"/>
                    </a:solidFill>
                  </a:tcPr>
                </a:tc>
                <a:tc>
                  <a:txBody>
                    <a:bodyPr/>
                    <a:lstStyle/>
                    <a:p>
                      <a:pPr algn="ctr" fontAlgn="ctr"/>
                      <a:r>
                        <a:rPr lang="en-US" sz="900" b="0" i="0" u="none" strike="noStrike">
                          <a:solidFill>
                            <a:srgbClr val="BFBFBF"/>
                          </a:solidFill>
                          <a:effectLst/>
                          <a:latin typeface="Calibri" panose="020F0502020204030204" pitchFamily="34" charset="0"/>
                        </a:rPr>
                        <a:t> </a:t>
                      </a:r>
                    </a:p>
                  </a:txBody>
                  <a:tcPr marL="5948" marR="5948" marT="5948" marB="0" anchor="ctr">
                    <a:lnL w="6350" cap="flat" cmpd="sng" algn="ctr">
                      <a:solidFill>
                        <a:srgbClr val="A6A6A6"/>
                      </a:solidFill>
                      <a:prstDash val="solid"/>
                      <a:round/>
                      <a:headEnd type="none" w="med" len="med"/>
                      <a:tailEnd type="none" w="med" len="med"/>
                    </a:lnL>
                    <a:lnR>
                      <a:noFill/>
                    </a:lnR>
                    <a:lnT>
                      <a:noFill/>
                    </a:lnT>
                    <a:lnB w="6350" cap="flat" cmpd="sng" algn="ctr">
                      <a:solidFill>
                        <a:srgbClr val="A6A6A6"/>
                      </a:solidFill>
                      <a:prstDash val="solid"/>
                      <a:round/>
                      <a:headEnd type="none" w="med" len="med"/>
                      <a:tailEnd type="none" w="med" len="med"/>
                    </a:lnB>
                  </a:tcPr>
                </a:tc>
                <a:tc>
                  <a:txBody>
                    <a:bodyPr/>
                    <a:lstStyle/>
                    <a:p>
                      <a:pPr algn="ctr" fontAlgn="ctr"/>
                      <a:r>
                        <a:rPr lang="en-US" sz="900" b="0" i="0" u="none" strike="noStrike">
                          <a:solidFill>
                            <a:srgbClr val="BFBFBF"/>
                          </a:solidFill>
                          <a:effectLst/>
                          <a:latin typeface="Calibri" panose="020F0502020204030204" pitchFamily="34" charset="0"/>
                        </a:rPr>
                        <a:t> </a:t>
                      </a:r>
                    </a:p>
                  </a:txBody>
                  <a:tcPr marL="5948" marR="5948" marT="5948" marB="0" anchor="ctr">
                    <a:lnL>
                      <a:noFill/>
                    </a:lnL>
                    <a:lnR>
                      <a:noFill/>
                    </a:lnR>
                    <a:lnT>
                      <a:noFill/>
                    </a:lnT>
                    <a:lnB w="6350" cap="flat" cmpd="sng" algn="ctr">
                      <a:solidFill>
                        <a:srgbClr val="A6A6A6"/>
                      </a:solidFill>
                      <a:prstDash val="solid"/>
                      <a:round/>
                      <a:headEnd type="none" w="med" len="med"/>
                      <a:tailEnd type="none" w="med" len="med"/>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solidFill>
                      <a:srgbClr val="DDEBF7"/>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5948" marR="5948" marT="5948" marB="0" anchor="b">
                    <a:lnL w="6350" cap="flat" cmpd="sng" algn="ctr">
                      <a:solidFill>
                        <a:srgbClr val="A6A6A6"/>
                      </a:solidFill>
                      <a:prstDash val="solid"/>
                      <a:round/>
                      <a:headEnd type="none" w="med" len="med"/>
                      <a:tailEnd type="none" w="med" len="med"/>
                    </a:lnL>
                    <a:lnR>
                      <a:noFill/>
                    </a:lnR>
                    <a:lnT>
                      <a:noFill/>
                    </a:lnT>
                    <a:lnB w="6350" cap="flat" cmpd="sng" algn="ctr">
                      <a:solidFill>
                        <a:srgbClr val="A6A6A6"/>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 </a:t>
                      </a:r>
                    </a:p>
                  </a:txBody>
                  <a:tcPr marL="5948" marR="5948" marT="5948" marB="0" anchor="b">
                    <a:lnL>
                      <a:noFill/>
                    </a:lnL>
                    <a:lnR>
                      <a:noFill/>
                    </a:lnR>
                    <a:lnT>
                      <a:noFill/>
                    </a:lnT>
                    <a:lnB w="6350" cap="flat" cmpd="sng" algn="ctr">
                      <a:solidFill>
                        <a:srgbClr val="A6A6A6"/>
                      </a:solidFill>
                      <a:prstDash val="solid"/>
                      <a:round/>
                      <a:headEnd type="none" w="med" len="med"/>
                      <a:tailEnd type="none" w="med" len="med"/>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solidFill>
                      <a:srgbClr val="DDEBF7"/>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5948" marR="5948" marT="5948" marB="0" anchor="b">
                    <a:lnL w="6350" cap="flat" cmpd="sng" algn="ctr">
                      <a:solidFill>
                        <a:srgbClr val="A6A6A6"/>
                      </a:solidFill>
                      <a:prstDash val="solid"/>
                      <a:round/>
                      <a:headEnd type="none" w="med" len="med"/>
                      <a:tailEnd type="none" w="med" len="med"/>
                    </a:lnL>
                    <a:lnR>
                      <a:noFill/>
                    </a:lnR>
                    <a:lnT>
                      <a:noFill/>
                    </a:lnT>
                    <a:lnB w="6350" cap="flat" cmpd="sng" algn="ctr">
                      <a:solidFill>
                        <a:srgbClr val="A6A6A6"/>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 </a:t>
                      </a:r>
                    </a:p>
                  </a:txBody>
                  <a:tcPr marL="5948" marR="5948" marT="5948" marB="0" anchor="b">
                    <a:lnL>
                      <a:noFill/>
                    </a:lnL>
                    <a:lnR>
                      <a:noFill/>
                    </a:lnR>
                    <a:lnT>
                      <a:noFill/>
                    </a:lnT>
                    <a:lnB w="6350" cap="flat" cmpd="sng" algn="ctr">
                      <a:solidFill>
                        <a:srgbClr val="A6A6A6"/>
                      </a:solidFill>
                      <a:prstDash val="solid"/>
                      <a:round/>
                      <a:headEnd type="none" w="med" len="med"/>
                      <a:tailEnd type="none" w="med" len="med"/>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solidFill>
                      <a:srgbClr val="DDEBF7"/>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5948" marR="5948" marT="5948" marB="0" anchor="b">
                    <a:lnL w="6350" cap="flat" cmpd="sng" algn="ctr">
                      <a:solidFill>
                        <a:srgbClr val="A6A6A6"/>
                      </a:solidFill>
                      <a:prstDash val="solid"/>
                      <a:round/>
                      <a:headEnd type="none" w="med" len="med"/>
                      <a:tailEnd type="none" w="med" len="med"/>
                    </a:lnL>
                    <a:lnR>
                      <a:noFill/>
                    </a:lnR>
                    <a:lnT>
                      <a:noFill/>
                    </a:lnT>
                    <a:lnB w="6350" cap="flat" cmpd="sng" algn="ctr">
                      <a:solidFill>
                        <a:srgbClr val="A6A6A6"/>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 </a:t>
                      </a:r>
                    </a:p>
                  </a:txBody>
                  <a:tcPr marL="5948" marR="5948" marT="5948" marB="0" anchor="b">
                    <a:lnL>
                      <a:noFill/>
                    </a:lnL>
                    <a:lnR>
                      <a:noFill/>
                    </a:lnR>
                    <a:lnT>
                      <a:noFill/>
                    </a:lnT>
                    <a:lnB w="6350" cap="flat" cmpd="sng" algn="ctr">
                      <a:solidFill>
                        <a:srgbClr val="A6A6A6"/>
                      </a:solidFill>
                      <a:prstDash val="solid"/>
                      <a:round/>
                      <a:headEnd type="none" w="med" len="med"/>
                      <a:tailEnd type="none" w="med" len="med"/>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solidFill>
                      <a:srgbClr val="DDEBF7"/>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5948" marR="5948" marT="5948" marB="0" anchor="b">
                    <a:lnL w="6350" cap="flat" cmpd="sng" algn="ctr">
                      <a:solidFill>
                        <a:srgbClr val="A6A6A6"/>
                      </a:solidFill>
                      <a:prstDash val="solid"/>
                      <a:round/>
                      <a:headEnd type="none" w="med" len="med"/>
                      <a:tailEnd type="none" w="med" len="med"/>
                    </a:lnL>
                    <a:lnR>
                      <a:noFill/>
                    </a:lnR>
                    <a:lnT>
                      <a:noFill/>
                    </a:lnT>
                    <a:lnB w="6350" cap="flat" cmpd="sng" algn="ctr">
                      <a:solidFill>
                        <a:srgbClr val="A6A6A6"/>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 </a:t>
                      </a:r>
                    </a:p>
                  </a:txBody>
                  <a:tcPr marL="5948" marR="5948" marT="5948" marB="0" anchor="b">
                    <a:lnL>
                      <a:noFill/>
                    </a:lnL>
                    <a:lnR>
                      <a:noFill/>
                    </a:lnR>
                    <a:lnT>
                      <a:noFill/>
                    </a:lnT>
                    <a:lnB w="6350" cap="flat" cmpd="sng" algn="ctr">
                      <a:solidFill>
                        <a:srgbClr val="A6A6A6"/>
                      </a:solidFill>
                      <a:prstDash val="solid"/>
                      <a:round/>
                      <a:headEnd type="none" w="med" len="med"/>
                      <a:tailEnd type="none" w="med" len="med"/>
                    </a:lnB>
                  </a:tcPr>
                </a:tc>
                <a:tc>
                  <a:txBody>
                    <a:bodyPr/>
                    <a:lstStyle/>
                    <a:p>
                      <a:pPr algn="ctr" fontAlgn="ctr"/>
                      <a:r>
                        <a:rPr lang="en-US" sz="900" b="0" i="0" u="none" strike="noStrike">
                          <a:solidFill>
                            <a:srgbClr val="BFBFBF"/>
                          </a:solidFill>
                          <a:effectLst/>
                          <a:latin typeface="Calibri" panose="020F0502020204030204" pitchFamily="34" charset="0"/>
                        </a:rPr>
                        <a:t>●</a:t>
                      </a:r>
                    </a:p>
                  </a:txBody>
                  <a:tcPr marL="5948" marR="5948" marT="5948" marB="0" anchor="ctr">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solidFill>
                      <a:srgbClr val="DDEBF7"/>
                    </a:solidFill>
                  </a:tcPr>
                </a:tc>
                <a:extLst>
                  <a:ext uri="{0D108BD9-81ED-4DB2-BD59-A6C34878D82A}">
                    <a16:rowId xmlns:a16="http://schemas.microsoft.com/office/drawing/2014/main" val="10026"/>
                  </a:ext>
                </a:extLst>
              </a:tr>
            </a:tbl>
          </a:graphicData>
        </a:graphic>
      </p:graphicFrame>
      <p:sp>
        <p:nvSpPr>
          <p:cNvPr id="14" name="TextBox 13"/>
          <p:cNvSpPr txBox="1"/>
          <p:nvPr/>
        </p:nvSpPr>
        <p:spPr>
          <a:xfrm>
            <a:off x="559096" y="6236061"/>
            <a:ext cx="8112641" cy="276999"/>
          </a:xfrm>
          <a:prstGeom prst="rect">
            <a:avLst/>
          </a:prstGeom>
          <a:noFill/>
        </p:spPr>
        <p:txBody>
          <a:bodyPr wrap="square" rtlCol="0">
            <a:spAutoFit/>
          </a:bodyPr>
          <a:lstStyle/>
          <a:p>
            <a:r>
              <a:rPr lang="en-US" sz="1200" i="1"/>
              <a:t>See chart comments on next slide</a:t>
            </a:r>
          </a:p>
        </p:txBody>
      </p:sp>
    </p:spTree>
    <p:extLst>
      <p:ext uri="{BB962C8B-B14F-4D97-AF65-F5344CB8AC3E}">
        <p14:creationId xmlns:p14="http://schemas.microsoft.com/office/powerpoint/2010/main" val="445581228"/>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lans Use of 2021 Core and Menu Measures in Any Contract </a:t>
            </a:r>
          </a:p>
        </p:txBody>
      </p:sp>
      <p:sp>
        <p:nvSpPr>
          <p:cNvPr id="3" name="Content Placeholder 2"/>
          <p:cNvSpPr>
            <a:spLocks noGrp="1"/>
          </p:cNvSpPr>
          <p:nvPr>
            <p:ph sz="half" idx="1"/>
          </p:nvPr>
        </p:nvSpPr>
        <p:spPr>
          <a:xfrm>
            <a:off x="329608" y="1084521"/>
            <a:ext cx="8463517" cy="5433237"/>
          </a:xfrm>
        </p:spPr>
        <p:txBody>
          <a:bodyPr/>
          <a:lstStyle/>
          <a:p>
            <a:r>
              <a:rPr lang="en-US" b="0"/>
              <a:t>The chart on the previous slide reflects use of the 2021 Aligned Measure Set in global budget contracts.</a:t>
            </a:r>
          </a:p>
          <a:p>
            <a:r>
              <a:rPr lang="en-US" b="0"/>
              <a:t>There are some notable caveats:</a:t>
            </a:r>
          </a:p>
          <a:p>
            <a:pPr lvl="1"/>
            <a:r>
              <a:rPr lang="en-US" b="0"/>
              <a:t>Measures that were removed from the set during the 2020 measure review are not included here. The removed measures are:</a:t>
            </a:r>
          </a:p>
          <a:p>
            <a:pPr lvl="2"/>
            <a:r>
              <a:rPr lang="en-US"/>
              <a:t>	</a:t>
            </a:r>
            <a:r>
              <a:rPr lang="en-US" sz="1600"/>
              <a:t>1. Depression Remission and Response for Adolescents and Adults</a:t>
            </a:r>
          </a:p>
          <a:p>
            <a:pPr lvl="2"/>
            <a:r>
              <a:rPr lang="en-US" sz="1600"/>
              <a:t>	2. Depression Remission at Six or Twelve Months</a:t>
            </a:r>
          </a:p>
          <a:p>
            <a:pPr lvl="2"/>
            <a:r>
              <a:rPr lang="en-US" sz="1600"/>
              <a:t>	3. Depression Remission at 6 or 12 Months – Progress Towards Remission</a:t>
            </a:r>
          </a:p>
          <a:p>
            <a:pPr lvl="2"/>
            <a:r>
              <a:rPr lang="en-US" sz="1600"/>
              <a:t>	4. Depression Screening and Follow-up for Adolescents and Adults</a:t>
            </a:r>
          </a:p>
          <a:p>
            <a:pPr lvl="2"/>
            <a:endParaRPr lang="en-US" sz="1600"/>
          </a:p>
          <a:p>
            <a:pPr lvl="2">
              <a:buFont typeface="Arial" panose="020B0604020202020204" pitchFamily="34" charset="0"/>
              <a:buChar char="•"/>
            </a:pPr>
            <a:r>
              <a:rPr lang="en-US" sz="2000">
                <a:latin typeface="Book Antiqua" panose="02040602050305030304" pitchFamily="18" charset="0"/>
              </a:rPr>
              <a:t>BMC </a:t>
            </a:r>
            <a:r>
              <a:rPr lang="en-US" sz="2000" err="1">
                <a:latin typeface="Book Antiqua" panose="02040602050305030304" pitchFamily="18" charset="0"/>
              </a:rPr>
              <a:t>HealthNet</a:t>
            </a:r>
            <a:r>
              <a:rPr lang="en-US" sz="2000">
                <a:latin typeface="Book Antiqua" panose="02040602050305030304" pitchFamily="18" charset="0"/>
              </a:rPr>
              <a:t> is using Controlling Blood Pressure in contracts, but has not yet adopted the 2021 specifications, so it was not counted as the core measure for this chart.</a:t>
            </a:r>
          </a:p>
          <a:p>
            <a:pPr marL="396875" lvl="2" indent="0"/>
            <a:endParaRPr lang="en-US" sz="1400">
              <a:latin typeface="Book Antiqua" panose="02040602050305030304" pitchFamily="18" charset="0"/>
            </a:endParaRPr>
          </a:p>
          <a:p>
            <a:pPr lvl="2">
              <a:buFont typeface="Arial" panose="020B0604020202020204" pitchFamily="34" charset="0"/>
              <a:buChar char="•"/>
            </a:pPr>
            <a:r>
              <a:rPr lang="en-US" sz="2000">
                <a:latin typeface="Book Antiqua" panose="02040602050305030304" pitchFamily="18" charset="0"/>
              </a:rPr>
              <a:t>Initiation and Engagement of Alcohol and Other Drug Dependence Treatment moved from Core to Menu in 2021, so it is only listed in Menu here but use is tracked across years.</a:t>
            </a:r>
          </a:p>
        </p:txBody>
      </p:sp>
    </p:spTree>
    <p:extLst>
      <p:ext uri="{BB962C8B-B14F-4D97-AF65-F5344CB8AC3E}">
        <p14:creationId xmlns:p14="http://schemas.microsoft.com/office/powerpoint/2010/main" val="3642083596"/>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36599" y="109538"/>
            <a:ext cx="6493933" cy="762000"/>
          </a:xfrm>
        </p:spPr>
        <p:txBody>
          <a:bodyPr/>
          <a:lstStyle/>
          <a:p>
            <a:r>
              <a:rPr lang="en-US" sz="1800"/>
              <a:t>Plans report continued use of non-endorsed quality measures and developmental/monitoring measures in contracts</a:t>
            </a:r>
          </a:p>
        </p:txBody>
      </p:sp>
      <p:sp>
        <p:nvSpPr>
          <p:cNvPr id="7" name="TextBox 6"/>
          <p:cNvSpPr txBox="1"/>
          <p:nvPr/>
        </p:nvSpPr>
        <p:spPr>
          <a:xfrm>
            <a:off x="358396" y="5278120"/>
            <a:ext cx="8327704" cy="1384995"/>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n-US" sz="1400">
                <a:solidFill>
                  <a:srgbClr val="000000"/>
                </a:solidFill>
                <a:latin typeface="Book Antiqua" panose="02040602050305030304" pitchFamily="18" charset="0"/>
              </a:rPr>
              <a:t>Many non-aligned measures continue to be included in global budget based contracts, increasing from 31 in 2020 to 37 in 2021.</a:t>
            </a:r>
          </a:p>
          <a:p>
            <a:pPr marL="285750" indent="-285750">
              <a:buFont typeface="Arial" panose="020B0604020202020204" pitchFamily="34" charset="0"/>
              <a:buChar char="•"/>
            </a:pPr>
            <a:r>
              <a:rPr lang="en-US" sz="1400">
                <a:latin typeface="Book Antiqua" panose="02040602050305030304" pitchFamily="18" charset="0"/>
              </a:rPr>
              <a:t>30 non-endorsed measures are in use in contracts in 2021 (up from 23 in 2020), and 21 by only a single payer (up from 14 in 2020)</a:t>
            </a:r>
          </a:p>
          <a:p>
            <a:pPr marL="285750" indent="-285750">
              <a:buFont typeface="Arial" panose="020B0604020202020204" pitchFamily="34" charset="0"/>
              <a:buChar char="•"/>
            </a:pPr>
            <a:r>
              <a:rPr lang="en-US" sz="1400">
                <a:solidFill>
                  <a:srgbClr val="000000"/>
                </a:solidFill>
                <a:latin typeface="Book Antiqua" panose="02040602050305030304" pitchFamily="18" charset="0"/>
              </a:rPr>
              <a:t>Developmental measures include: Community Tenure, and Depression Remission or Response for Adolescents and Adults (2020 and 2021)</a:t>
            </a:r>
          </a:p>
        </p:txBody>
      </p:sp>
      <p:sp>
        <p:nvSpPr>
          <p:cNvPr id="5" name="Rectangle 4"/>
          <p:cNvSpPr/>
          <p:nvPr/>
        </p:nvSpPr>
        <p:spPr bwMode="auto">
          <a:xfrm>
            <a:off x="883920" y="4942840"/>
            <a:ext cx="233680" cy="116840"/>
          </a:xfrm>
          <a:prstGeom prst="rect">
            <a:avLst/>
          </a:prstGeom>
          <a:solidFill>
            <a:schemeClr val="bg1"/>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eaLnBrk="0" fontAlgn="base" hangingPunct="0">
              <a:spcBef>
                <a:spcPct val="0"/>
              </a:spcBef>
              <a:spcAft>
                <a:spcPct val="0"/>
              </a:spcAft>
            </a:pPr>
            <a:endParaRPr lang="en-US" sz="1600">
              <a:solidFill>
                <a:srgbClr val="000000"/>
              </a:solidFill>
            </a:endParaRPr>
          </a:p>
        </p:txBody>
      </p:sp>
      <p:sp>
        <p:nvSpPr>
          <p:cNvPr id="4" name="Rectangle 3"/>
          <p:cNvSpPr/>
          <p:nvPr/>
        </p:nvSpPr>
        <p:spPr bwMode="auto">
          <a:xfrm>
            <a:off x="746449" y="4942840"/>
            <a:ext cx="254311" cy="216989"/>
          </a:xfrm>
          <a:prstGeom prst="rect">
            <a:avLst/>
          </a:prstGeom>
          <a:solidFill>
            <a:schemeClr val="bg1"/>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eaLnBrk="0" fontAlgn="base" hangingPunct="0">
              <a:spcBef>
                <a:spcPct val="0"/>
              </a:spcBef>
              <a:spcAft>
                <a:spcPct val="0"/>
              </a:spcAft>
            </a:pPr>
            <a:endParaRPr lang="en-US" sz="1600">
              <a:solidFill>
                <a:srgbClr val="000000"/>
              </a:solidFill>
            </a:endParaRPr>
          </a:p>
        </p:txBody>
      </p:sp>
      <p:sp>
        <p:nvSpPr>
          <p:cNvPr id="6" name="Rectangle 5"/>
          <p:cNvSpPr/>
          <p:nvPr/>
        </p:nvSpPr>
        <p:spPr bwMode="auto">
          <a:xfrm>
            <a:off x="873604" y="4724400"/>
            <a:ext cx="421796" cy="435429"/>
          </a:xfrm>
          <a:prstGeom prst="rect">
            <a:avLst/>
          </a:prstGeom>
          <a:solidFill>
            <a:schemeClr val="bg1"/>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34" charset="0"/>
            </a:endParaRPr>
          </a:p>
        </p:txBody>
      </p:sp>
      <p:pic>
        <p:nvPicPr>
          <p:cNvPr id="2" name="Picture 1"/>
          <p:cNvPicPr>
            <a:picLocks noChangeAspect="1"/>
          </p:cNvPicPr>
          <p:nvPr/>
        </p:nvPicPr>
        <p:blipFill>
          <a:blip r:embed="rId3"/>
          <a:stretch>
            <a:fillRect/>
          </a:stretch>
        </p:blipFill>
        <p:spPr>
          <a:xfrm>
            <a:off x="228784" y="991558"/>
            <a:ext cx="8586928" cy="4286562"/>
          </a:xfrm>
          <a:prstGeom prst="rect">
            <a:avLst/>
          </a:prstGeom>
        </p:spPr>
      </p:pic>
      <p:pic>
        <p:nvPicPr>
          <p:cNvPr id="9" name="Picture 8"/>
          <p:cNvPicPr>
            <a:picLocks noChangeAspect="1"/>
          </p:cNvPicPr>
          <p:nvPr/>
        </p:nvPicPr>
        <p:blipFill>
          <a:blip r:embed="rId4"/>
          <a:stretch>
            <a:fillRect/>
          </a:stretch>
        </p:blipFill>
        <p:spPr>
          <a:xfrm>
            <a:off x="7756694" y="1355496"/>
            <a:ext cx="1286054" cy="638264"/>
          </a:xfrm>
          <a:prstGeom prst="rect">
            <a:avLst/>
          </a:prstGeom>
        </p:spPr>
      </p:pic>
    </p:spTree>
    <p:extLst>
      <p:ext uri="{BB962C8B-B14F-4D97-AF65-F5344CB8AC3E}">
        <p14:creationId xmlns:p14="http://schemas.microsoft.com/office/powerpoint/2010/main" val="1480379365"/>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4CE18-EAA3-4DC4-9E6E-27FB963B1316}"/>
              </a:ext>
            </a:extLst>
          </p:cNvPr>
          <p:cNvSpPr>
            <a:spLocks noGrp="1"/>
          </p:cNvSpPr>
          <p:nvPr>
            <p:ph type="title"/>
          </p:nvPr>
        </p:nvSpPr>
        <p:spPr>
          <a:xfrm>
            <a:off x="736599" y="109538"/>
            <a:ext cx="7057572" cy="762000"/>
          </a:xfrm>
        </p:spPr>
        <p:txBody>
          <a:bodyPr/>
          <a:lstStyle/>
          <a:p>
            <a:r>
              <a:rPr lang="en-US" sz="2000"/>
              <a:t>Impact of COVID-19 on Quality Measurement in MA Global Budget-Based Risk Contracts</a:t>
            </a:r>
          </a:p>
        </p:txBody>
      </p:sp>
      <p:pic>
        <p:nvPicPr>
          <p:cNvPr id="14" name="Picture 13">
            <a:extLst>
              <a:ext uri="{FF2B5EF4-FFF2-40B4-BE49-F238E27FC236}">
                <a16:creationId xmlns:a16="http://schemas.microsoft.com/office/drawing/2014/main" id="{24AE6C0B-CE4D-C54A-B0E8-31F639178E63}"/>
              </a:ext>
            </a:extLst>
          </p:cNvPr>
          <p:cNvPicPr>
            <a:picLocks noChangeAspect="1"/>
          </p:cNvPicPr>
          <p:nvPr/>
        </p:nvPicPr>
        <p:blipFill>
          <a:blip r:embed="rId2"/>
          <a:stretch>
            <a:fillRect/>
          </a:stretch>
        </p:blipFill>
        <p:spPr>
          <a:xfrm>
            <a:off x="298290" y="2080202"/>
            <a:ext cx="5399314" cy="4501596"/>
          </a:xfrm>
          <a:prstGeom prst="rect">
            <a:avLst/>
          </a:prstGeom>
          <a:ln>
            <a:solidFill>
              <a:schemeClr val="bg1"/>
            </a:solidFill>
          </a:ln>
        </p:spPr>
      </p:pic>
      <p:sp>
        <p:nvSpPr>
          <p:cNvPr id="16" name="Rectangle 15">
            <a:extLst>
              <a:ext uri="{FF2B5EF4-FFF2-40B4-BE49-F238E27FC236}">
                <a16:creationId xmlns:a16="http://schemas.microsoft.com/office/drawing/2014/main" id="{70FFE495-9A22-5442-AB55-E88E9ED47076}"/>
              </a:ext>
            </a:extLst>
          </p:cNvPr>
          <p:cNvSpPr/>
          <p:nvPr/>
        </p:nvSpPr>
        <p:spPr>
          <a:xfrm>
            <a:off x="5968627" y="3881979"/>
            <a:ext cx="2877083" cy="2492990"/>
          </a:xfrm>
          <a:prstGeom prst="rect">
            <a:avLst/>
          </a:prstGeom>
          <a:noFill/>
        </p:spPr>
        <p:txBody>
          <a:bodyPr wrap="square">
            <a:spAutoFit/>
          </a:bodyPr>
          <a:lstStyle/>
          <a:p>
            <a:pPr fontAlgn="b"/>
            <a:r>
              <a:rPr lang="en-US" sz="1200">
                <a:solidFill>
                  <a:schemeClr val="bg2">
                    <a:lumMod val="50000"/>
                  </a:schemeClr>
                </a:solidFill>
                <a:latin typeface="Calibri" panose="020F0502020204030204" pitchFamily="34" charset="0"/>
                <a:cs typeface="Calibri" panose="020F0502020204030204" pitchFamily="34" charset="0"/>
              </a:rPr>
              <a:t>Examples: </a:t>
            </a:r>
          </a:p>
          <a:p>
            <a:pPr fontAlgn="b"/>
            <a:r>
              <a:rPr lang="en-US" sz="1200">
                <a:solidFill>
                  <a:schemeClr val="bg2">
                    <a:lumMod val="50000"/>
                  </a:schemeClr>
                </a:solidFill>
                <a:latin typeface="Calibri" panose="020F0502020204030204" pitchFamily="34" charset="0"/>
                <a:cs typeface="Calibri" panose="020F0502020204030204" pitchFamily="34" charset="0"/>
              </a:rPr>
              <a:t>Additions (e.g., included “non-measure” options to receive incentive)</a:t>
            </a:r>
          </a:p>
          <a:p>
            <a:pPr fontAlgn="b"/>
            <a:r>
              <a:rPr lang="en-US" sz="1200">
                <a:solidFill>
                  <a:schemeClr val="bg2">
                    <a:lumMod val="50000"/>
                  </a:schemeClr>
                </a:solidFill>
                <a:latin typeface="Calibri" panose="020F0502020204030204" pitchFamily="34" charset="0"/>
                <a:cs typeface="Calibri" panose="020F0502020204030204" pitchFamily="34" charset="0"/>
              </a:rPr>
              <a:t>Modifications (e.g., adjustments to benchmarks, data sources, or measure calculation approach)</a:t>
            </a:r>
          </a:p>
          <a:p>
            <a:pPr fontAlgn="b"/>
            <a:r>
              <a:rPr lang="en-US" sz="1200">
                <a:solidFill>
                  <a:schemeClr val="bg2">
                    <a:lumMod val="50000"/>
                  </a:schemeClr>
                </a:solidFill>
                <a:latin typeface="Calibri" panose="020F0502020204030204" pitchFamily="34" charset="0"/>
                <a:cs typeface="Calibri" panose="020F0502020204030204" pitchFamily="34" charset="0"/>
              </a:rPr>
              <a:t>Subtractions (e.g., removing preventive or patient experience measures)</a:t>
            </a:r>
          </a:p>
          <a:p>
            <a:pPr fontAlgn="b"/>
            <a:endParaRPr lang="en-US" sz="1200">
              <a:solidFill>
                <a:schemeClr val="bg2">
                  <a:lumMod val="50000"/>
                </a:schemeClr>
              </a:solidFill>
              <a:latin typeface="Calibri" panose="020F0502020204030204" pitchFamily="34" charset="0"/>
              <a:cs typeface="Calibri" panose="020F0502020204030204" pitchFamily="34" charset="0"/>
            </a:endParaRPr>
          </a:p>
          <a:p>
            <a:pPr lvl="0" fontAlgn="b">
              <a:defRPr/>
            </a:pPr>
            <a:r>
              <a:rPr lang="en-US" sz="1200">
                <a:solidFill>
                  <a:schemeClr val="bg2">
                    <a:lumMod val="50000"/>
                  </a:schemeClr>
                </a:solidFill>
                <a:latin typeface="Calibri" panose="020F0502020204030204" pitchFamily="34" charset="0"/>
                <a:cs typeface="Calibri" panose="020F0502020204030204" pitchFamily="34" charset="0"/>
              </a:rPr>
              <a:t>No payer reported that they had eliminated quality measure-based incentives for 2020 altogether in response to the pandemic. </a:t>
            </a:r>
          </a:p>
        </p:txBody>
      </p:sp>
      <p:sp>
        <p:nvSpPr>
          <p:cNvPr id="18" name="Content Placeholder 2">
            <a:extLst>
              <a:ext uri="{FF2B5EF4-FFF2-40B4-BE49-F238E27FC236}">
                <a16:creationId xmlns:a16="http://schemas.microsoft.com/office/drawing/2014/main" id="{A428F9C4-BF1E-574D-95B5-E32076DE1A5C}"/>
              </a:ext>
            </a:extLst>
          </p:cNvPr>
          <p:cNvSpPr>
            <a:spLocks noGrp="1"/>
          </p:cNvSpPr>
          <p:nvPr>
            <p:ph sz="half" idx="1"/>
          </p:nvPr>
        </p:nvSpPr>
        <p:spPr>
          <a:xfrm>
            <a:off x="377746" y="1029555"/>
            <a:ext cx="8098971" cy="685800"/>
          </a:xfrm>
        </p:spPr>
        <p:txBody>
          <a:bodyPr/>
          <a:lstStyle/>
          <a:p>
            <a:pPr marL="0" indent="0">
              <a:buNone/>
            </a:pPr>
            <a:r>
              <a:rPr lang="en-US" sz="1900" b="0"/>
              <a:t>As part of this year’s Quality Measure Catalogue submission, payers were asked targeted questions on the impact of the pandemic on quality measurement in their global budget-based risk contracts for 2020 and 2021. </a:t>
            </a:r>
          </a:p>
        </p:txBody>
      </p:sp>
    </p:spTree>
    <p:extLst>
      <p:ext uri="{BB962C8B-B14F-4D97-AF65-F5344CB8AC3E}">
        <p14:creationId xmlns:p14="http://schemas.microsoft.com/office/powerpoint/2010/main" val="3130701180"/>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ED854-5A2D-BE49-96EC-C905A10137CF}"/>
              </a:ext>
            </a:extLst>
          </p:cNvPr>
          <p:cNvSpPr>
            <a:spLocks noGrp="1"/>
          </p:cNvSpPr>
          <p:nvPr>
            <p:ph type="title"/>
          </p:nvPr>
        </p:nvSpPr>
        <p:spPr>
          <a:xfrm>
            <a:off x="736599" y="109538"/>
            <a:ext cx="6687457" cy="762000"/>
          </a:xfrm>
        </p:spPr>
        <p:txBody>
          <a:bodyPr/>
          <a:lstStyle/>
          <a:p>
            <a:r>
              <a:rPr lang="en-US" sz="2000"/>
              <a:t>Impact of COVID-19 on Quality Measurement in MA Global Budget-Based Risk Contracts (Cont.)</a:t>
            </a:r>
          </a:p>
        </p:txBody>
      </p:sp>
      <p:pic>
        <p:nvPicPr>
          <p:cNvPr id="4" name="Picture 3">
            <a:extLst>
              <a:ext uri="{FF2B5EF4-FFF2-40B4-BE49-F238E27FC236}">
                <a16:creationId xmlns:a16="http://schemas.microsoft.com/office/drawing/2014/main" id="{54FA53DC-4990-F444-9180-6D86BB16B01B}"/>
              </a:ext>
            </a:extLst>
          </p:cNvPr>
          <p:cNvPicPr>
            <a:picLocks noChangeAspect="1"/>
          </p:cNvPicPr>
          <p:nvPr/>
        </p:nvPicPr>
        <p:blipFill>
          <a:blip r:embed="rId3"/>
          <a:stretch>
            <a:fillRect/>
          </a:stretch>
        </p:blipFill>
        <p:spPr>
          <a:xfrm>
            <a:off x="304803" y="1199243"/>
            <a:ext cx="4616681" cy="2686957"/>
          </a:xfrm>
          <a:prstGeom prst="rect">
            <a:avLst/>
          </a:prstGeom>
          <a:ln>
            <a:noFill/>
          </a:ln>
        </p:spPr>
      </p:pic>
      <p:pic>
        <p:nvPicPr>
          <p:cNvPr id="3" name="Picture 2">
            <a:extLst>
              <a:ext uri="{FF2B5EF4-FFF2-40B4-BE49-F238E27FC236}">
                <a16:creationId xmlns:a16="http://schemas.microsoft.com/office/drawing/2014/main" id="{1403D8FD-F646-3D47-A49F-2EF63123C2CE}"/>
              </a:ext>
            </a:extLst>
          </p:cNvPr>
          <p:cNvPicPr>
            <a:picLocks noChangeAspect="1"/>
          </p:cNvPicPr>
          <p:nvPr/>
        </p:nvPicPr>
        <p:blipFill>
          <a:blip r:embed="rId4"/>
          <a:stretch>
            <a:fillRect/>
          </a:stretch>
        </p:blipFill>
        <p:spPr>
          <a:xfrm>
            <a:off x="4080327" y="4213905"/>
            <a:ext cx="4749800" cy="2146300"/>
          </a:xfrm>
          <a:prstGeom prst="rect">
            <a:avLst/>
          </a:prstGeom>
        </p:spPr>
      </p:pic>
    </p:spTree>
    <p:extLst>
      <p:ext uri="{BB962C8B-B14F-4D97-AF65-F5344CB8AC3E}">
        <p14:creationId xmlns:p14="http://schemas.microsoft.com/office/powerpoint/2010/main" val="811917387"/>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10713-C716-4C62-97FD-CC56499FD5C0}"/>
              </a:ext>
            </a:extLst>
          </p:cNvPr>
          <p:cNvSpPr>
            <a:spLocks noGrp="1"/>
          </p:cNvSpPr>
          <p:nvPr>
            <p:ph type="title"/>
          </p:nvPr>
        </p:nvSpPr>
        <p:spPr/>
        <p:txBody>
          <a:bodyPr/>
          <a:lstStyle/>
          <a:p>
            <a:r>
              <a:rPr lang="en-US"/>
              <a:t>Review of Existing Measures</a:t>
            </a:r>
          </a:p>
        </p:txBody>
      </p:sp>
      <p:sp>
        <p:nvSpPr>
          <p:cNvPr id="3" name="Content Placeholder 2">
            <a:extLst>
              <a:ext uri="{FF2B5EF4-FFF2-40B4-BE49-F238E27FC236}">
                <a16:creationId xmlns:a16="http://schemas.microsoft.com/office/drawing/2014/main" id="{EA39D0E9-9042-4425-B694-1F433C63E49D}"/>
              </a:ext>
            </a:extLst>
          </p:cNvPr>
          <p:cNvSpPr>
            <a:spLocks noGrp="1"/>
          </p:cNvSpPr>
          <p:nvPr>
            <p:ph sz="half" idx="1"/>
          </p:nvPr>
        </p:nvSpPr>
        <p:spPr>
          <a:xfrm>
            <a:off x="533400" y="1310790"/>
            <a:ext cx="8077200" cy="5254283"/>
          </a:xfrm>
        </p:spPr>
        <p:txBody>
          <a:bodyPr/>
          <a:lstStyle/>
          <a:p>
            <a:pPr>
              <a:spcAft>
                <a:spcPts val="1800"/>
              </a:spcAft>
            </a:pPr>
            <a:r>
              <a:rPr lang="en-US" b="0"/>
              <a:t>The focus of today’s meeting is to begin review of the measures within the 2021 Aligned Measure Set. </a:t>
            </a:r>
          </a:p>
          <a:p>
            <a:r>
              <a:rPr lang="en-US" b="0"/>
              <a:t>To do so, we will walk sequentially through each measure, beginning with Core measures, then Menu, then Monitoring.  For each measure we will consider the following:</a:t>
            </a:r>
          </a:p>
          <a:p>
            <a:pPr lvl="1">
              <a:spcAft>
                <a:spcPts val="0"/>
              </a:spcAft>
            </a:pPr>
            <a:r>
              <a:rPr lang="en-US" b="0"/>
              <a:t>Opportunities to promote health equity</a:t>
            </a:r>
          </a:p>
          <a:p>
            <a:pPr lvl="1">
              <a:spcAft>
                <a:spcPts val="0"/>
              </a:spcAft>
            </a:pPr>
            <a:r>
              <a:rPr lang="en-US" b="0"/>
              <a:t>External measure set composition and specification changes</a:t>
            </a:r>
          </a:p>
          <a:p>
            <a:pPr lvl="1">
              <a:spcAft>
                <a:spcPts val="1800"/>
              </a:spcAft>
            </a:pPr>
            <a:r>
              <a:rPr lang="en-US" b="0"/>
              <a:t>Recent performance</a:t>
            </a:r>
          </a:p>
          <a:p>
            <a:r>
              <a:rPr lang="en-US" b="0"/>
              <a:t>Prior to this meeting, you were provided with the 2021 Aligned Measure Set Crosswalk which provides a more detailed information, including domain, condition, population, data source, previous Taskforce discussions, and performance over time.</a:t>
            </a:r>
          </a:p>
          <a:p>
            <a:pPr lvl="1"/>
            <a:endParaRPr lang="en-US"/>
          </a:p>
          <a:p>
            <a:pPr lvl="1"/>
            <a:endParaRPr lang="en-US"/>
          </a:p>
        </p:txBody>
      </p:sp>
    </p:spTree>
    <p:extLst>
      <p:ext uri="{BB962C8B-B14F-4D97-AF65-F5344CB8AC3E}">
        <p14:creationId xmlns:p14="http://schemas.microsoft.com/office/powerpoint/2010/main" val="87366212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3" end="3"/>
                                            </p:txEl>
                                          </p:spTgt>
                                        </p:tgtEl>
                                        <p:attrNameLst>
                                          <p:attrName>style.visibility</p:attrName>
                                        </p:attrNameLst>
                                      </p:cBhvr>
                                      <p:to>
                                        <p:strVal val="visible"/>
                                      </p:to>
                                    </p:set>
                                    <p:animEffect transition="in" filter="fade">
                                      <p:cBhvr>
                                        <p:cTn id="14" dur="1000"/>
                                        <p:tgtEl>
                                          <p:spTgt spid="3">
                                            <p:txEl>
                                              <p:pRg st="3" end="3"/>
                                            </p:txEl>
                                          </p:spTgt>
                                        </p:tgtEl>
                                      </p:cBhvr>
                                    </p:animEffect>
                                    <p:anim calcmode="lin" valueType="num">
                                      <p:cBhvr>
                                        <p:cTn id="15"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1000"/>
                                        <p:tgtEl>
                                          <p:spTgt spid="3">
                                            <p:txEl>
                                              <p:pRg st="4" end="4"/>
                                            </p:txEl>
                                          </p:spTgt>
                                        </p:tgtEl>
                                      </p:cBhvr>
                                    </p:animEffect>
                                    <p:anim calcmode="lin" valueType="num">
                                      <p:cBhvr>
                                        <p:cTn id="2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446631"/>
            <a:ext cx="8469923" cy="4556234"/>
          </a:xfrm>
        </p:spPr>
        <p:txBody>
          <a:bodyPr/>
          <a:lstStyle/>
          <a:p>
            <a:pPr marL="457200" indent="-457200">
              <a:buFont typeface="+mj-lt"/>
              <a:buAutoNum type="arabicPeriod"/>
            </a:pPr>
            <a:r>
              <a:rPr lang="en-US" sz="220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a:cs typeface="Times New Roman" panose="02020603050405020304" pitchFamily="18" charset="0"/>
              </a:rPr>
              <a:t>Annual review</a:t>
            </a:r>
          </a:p>
          <a:p>
            <a:pPr marL="990600" lvl="3" indent="-457200">
              <a:buClr>
                <a:schemeClr val="tx1"/>
              </a:buClr>
              <a:buFont typeface="+mj-lt"/>
              <a:buAutoNum type="alphaLcPeriod"/>
            </a:pPr>
            <a:r>
              <a:rPr lang="en-US" sz="2000">
                <a:solidFill>
                  <a:schemeClr val="tx1"/>
                </a:solidFill>
                <a:latin typeface="Book Antiqua" panose="02040602050305030304" pitchFamily="18" charset="0"/>
                <a:cs typeface="Times New Roman" panose="02020603050405020304" pitchFamily="18" charset="0"/>
              </a:rPr>
              <a:t>Revisions to the annual review process</a:t>
            </a:r>
          </a:p>
          <a:p>
            <a:pPr marL="990600" lvl="3" indent="-457200">
              <a:buClr>
                <a:schemeClr val="tx1"/>
              </a:buClr>
              <a:buFont typeface="+mj-lt"/>
              <a:buAutoNum type="alphaLcPeriod"/>
            </a:pPr>
            <a:r>
              <a:rPr lang="en-US" sz="2000">
                <a:solidFill>
                  <a:schemeClr val="tx1"/>
                </a:solidFill>
                <a:latin typeface="Book Antiqua" panose="02040602050305030304" pitchFamily="18" charset="0"/>
                <a:cs typeface="Times New Roman" panose="02020603050405020304" pitchFamily="18" charset="0"/>
              </a:rPr>
              <a:t>Follow-up items from November</a:t>
            </a:r>
          </a:p>
          <a:p>
            <a:pPr marL="990600" lvl="3" indent="-457200">
              <a:buClr>
                <a:schemeClr val="tx1"/>
              </a:buClr>
              <a:buFont typeface="+mj-lt"/>
              <a:buAutoNum type="alphaLcPeriod"/>
            </a:pPr>
            <a:r>
              <a:rPr lang="en-US" sz="2000">
                <a:solidFill>
                  <a:schemeClr val="tx1"/>
                </a:solidFill>
                <a:latin typeface="Book Antiqua" panose="02040602050305030304" pitchFamily="18" charset="0"/>
                <a:cs typeface="Times New Roman" panose="02020603050405020304" pitchFamily="18" charset="0"/>
              </a:rPr>
              <a:t>Process for measure culling</a:t>
            </a:r>
          </a:p>
          <a:p>
            <a:pPr marL="990600" lvl="3" indent="-457200">
              <a:buClr>
                <a:schemeClr val="tx1"/>
              </a:buClr>
              <a:buFont typeface="+mj-lt"/>
              <a:buAutoNum type="alphaLcPeriod"/>
            </a:pPr>
            <a:r>
              <a:rPr lang="en-US" sz="2000">
                <a:solidFill>
                  <a:schemeClr val="tx1"/>
                </a:solidFill>
                <a:latin typeface="Book Antiqua" panose="02040602050305030304" pitchFamily="18" charset="0"/>
                <a:cs typeface="Times New Roman" panose="02020603050405020304" pitchFamily="18" charset="0"/>
              </a:rPr>
              <a:t>2020 Quality Catalogue findings</a:t>
            </a:r>
          </a:p>
          <a:p>
            <a:pPr marL="990600" lvl="3" indent="-457200">
              <a:buClr>
                <a:schemeClr val="tx1"/>
              </a:buClr>
              <a:buFont typeface="+mj-lt"/>
              <a:buAutoNum type="alphaLcPeriod"/>
            </a:pPr>
            <a:r>
              <a:rPr lang="en-US" sz="2000">
                <a:solidFill>
                  <a:schemeClr val="tx1"/>
                </a:solidFill>
                <a:latin typeface="Book Antiqua" panose="02040602050305030304" pitchFamily="18" charset="0"/>
                <a:cs typeface="Times New Roman" panose="02020603050405020304" pitchFamily="18" charset="0"/>
              </a:rPr>
              <a:t>Review existing measures</a:t>
            </a:r>
          </a:p>
          <a:p>
            <a:pPr marL="457200" indent="-457200">
              <a:buFont typeface="+mj-lt"/>
              <a:buAutoNum type="arabicPeriod"/>
            </a:pPr>
            <a:r>
              <a:rPr lang="en-US" sz="2200">
                <a:cs typeface="Times New Roman" panose="02020603050405020304" pitchFamily="18" charset="0"/>
              </a:rPr>
              <a:t>Next steps</a:t>
            </a:r>
            <a:endParaRPr lang="en-US" sz="2200"/>
          </a:p>
        </p:txBody>
      </p:sp>
      <p:sp>
        <p:nvSpPr>
          <p:cNvPr id="5" name="Rectangle 4">
            <a:extLst>
              <a:ext uri="{FF2B5EF4-FFF2-40B4-BE49-F238E27FC236}">
                <a16:creationId xmlns:a16="http://schemas.microsoft.com/office/drawing/2014/main" id="{D3915D3D-656E-48AA-8D63-358A7E5AA453}"/>
              </a:ext>
            </a:extLst>
          </p:cNvPr>
          <p:cNvSpPr/>
          <p:nvPr/>
        </p:nvSpPr>
        <p:spPr>
          <a:xfrm>
            <a:off x="0" y="1375634"/>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3438988"/>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F7927-819D-4A4F-8313-886FAE8403C5}"/>
              </a:ext>
            </a:extLst>
          </p:cNvPr>
          <p:cNvSpPr>
            <a:spLocks noGrp="1"/>
          </p:cNvSpPr>
          <p:nvPr>
            <p:ph type="title"/>
          </p:nvPr>
        </p:nvSpPr>
        <p:spPr/>
        <p:txBody>
          <a:bodyPr/>
          <a:lstStyle/>
          <a:p>
            <a:r>
              <a:rPr lang="en-US"/>
              <a:t>Sources for “Opportunities to Promote Health Equity”</a:t>
            </a:r>
          </a:p>
        </p:txBody>
      </p:sp>
      <p:sp>
        <p:nvSpPr>
          <p:cNvPr id="3" name="Content Placeholder 2">
            <a:extLst>
              <a:ext uri="{FF2B5EF4-FFF2-40B4-BE49-F238E27FC236}">
                <a16:creationId xmlns:a16="http://schemas.microsoft.com/office/drawing/2014/main" id="{C1ACF851-F1A0-47BB-B553-CF914E9CC80C}"/>
              </a:ext>
            </a:extLst>
          </p:cNvPr>
          <p:cNvSpPr>
            <a:spLocks noGrp="1"/>
          </p:cNvSpPr>
          <p:nvPr>
            <p:ph sz="half" idx="1"/>
          </p:nvPr>
        </p:nvSpPr>
        <p:spPr>
          <a:xfrm>
            <a:off x="266699" y="1127433"/>
            <a:ext cx="8877301" cy="5334323"/>
          </a:xfrm>
        </p:spPr>
        <p:txBody>
          <a:bodyPr/>
          <a:lstStyle/>
          <a:p>
            <a:pPr marL="457200" indent="-457200">
              <a:spcAft>
                <a:spcPts val="600"/>
              </a:spcAft>
              <a:buFont typeface="+mj-lt"/>
              <a:buAutoNum type="alphaUcPeriod"/>
            </a:pPr>
            <a:r>
              <a:rPr lang="en-US" b="0" u="none" strike="noStrike">
                <a:effectLst/>
                <a:latin typeface="Book Antiqua" panose="02040602050305030304" pitchFamily="18" charset="0"/>
              </a:rPr>
              <a:t>DPH 2019 Literature Review of Quality Measure Perf. Disparities </a:t>
            </a:r>
          </a:p>
          <a:p>
            <a:pPr marL="457200" indent="-457200">
              <a:spcAft>
                <a:spcPts val="300"/>
              </a:spcAft>
              <a:buFont typeface="+mj-lt"/>
              <a:buAutoNum type="alphaUcPeriod"/>
            </a:pPr>
            <a:r>
              <a:rPr lang="en-US" b="0" u="none" strike="noStrike">
                <a:effectLst/>
                <a:latin typeface="Book Antiqua" panose="02040602050305030304" pitchFamily="18" charset="0"/>
              </a:rPr>
              <a:t>Taskforce member organization</a:t>
            </a:r>
            <a:r>
              <a:rPr lang="en-US" b="0"/>
              <a:t> stratified data (solicited 12/14/20)</a:t>
            </a:r>
            <a:endParaRPr lang="en-US" b="0">
              <a:solidFill>
                <a:srgbClr val="C00000"/>
              </a:solidFill>
            </a:endParaRPr>
          </a:p>
          <a:p>
            <a:pPr marL="990600" lvl="3" indent="-457200">
              <a:spcAft>
                <a:spcPts val="0"/>
              </a:spcAft>
              <a:buClr>
                <a:schemeClr val="tx1"/>
              </a:buClr>
              <a:buFont typeface="+mj-lt"/>
              <a:buAutoNum type="arabicPeriod"/>
            </a:pPr>
            <a:r>
              <a:rPr lang="en-US" sz="1700" b="0" u="none" strike="noStrike">
                <a:solidFill>
                  <a:schemeClr val="tx2"/>
                </a:solidFill>
                <a:effectLst/>
                <a:latin typeface="Book Antiqua" panose="02040602050305030304" pitchFamily="18" charset="0"/>
              </a:rPr>
              <a:t>MGH, Annual Report on Equity in Health Care Quality (AREHQ) 2018-2019</a:t>
            </a:r>
          </a:p>
          <a:p>
            <a:pPr marL="990600" lvl="3" indent="-457200">
              <a:spcAft>
                <a:spcPts val="0"/>
              </a:spcAft>
              <a:buClr>
                <a:schemeClr val="tx1"/>
              </a:buClr>
              <a:buFont typeface="+mj-lt"/>
              <a:buAutoNum type="arabicPeriod"/>
            </a:pPr>
            <a:r>
              <a:rPr lang="en-US" sz="1700" b="0" u="none" strike="noStrike">
                <a:solidFill>
                  <a:schemeClr val="tx2"/>
                </a:solidFill>
                <a:effectLst/>
                <a:latin typeface="Book Antiqua" panose="02040602050305030304" pitchFamily="18" charset="0"/>
              </a:rPr>
              <a:t>Community Care Cooperative Race, Ethnicity and Language Data January 2021 (full set of slides in appendix)</a:t>
            </a:r>
          </a:p>
          <a:p>
            <a:pPr marL="990600" lvl="3" indent="-457200">
              <a:spcAft>
                <a:spcPts val="0"/>
              </a:spcAft>
              <a:buClr>
                <a:schemeClr val="tx1"/>
              </a:buClr>
              <a:buFont typeface="+mj-lt"/>
              <a:buAutoNum type="arabicPeriod"/>
            </a:pPr>
            <a:r>
              <a:rPr lang="en-US" sz="1700" b="0" u="none" strike="noStrike">
                <a:solidFill>
                  <a:schemeClr val="tx2"/>
                </a:solidFill>
                <a:effectLst/>
                <a:latin typeface="Book Antiqua" panose="02040602050305030304" pitchFamily="18" charset="0"/>
              </a:rPr>
              <a:t>UMass Memorial Ambulatory Health Equity Quality Dashboard. 12/21/20 (full set of slides in appendix) </a:t>
            </a:r>
          </a:p>
          <a:p>
            <a:pPr marL="1409700" lvl="4" indent="-457200">
              <a:spcAft>
                <a:spcPts val="0"/>
              </a:spcAft>
            </a:pPr>
            <a:r>
              <a:rPr lang="en-US" sz="1700" b="0" u="none" strike="noStrike">
                <a:solidFill>
                  <a:schemeClr val="tx2"/>
                </a:solidFill>
                <a:effectLst/>
                <a:latin typeface="Book Antiqua" panose="02040602050305030304" pitchFamily="18" charset="0"/>
              </a:rPr>
              <a:t>UMass had a lot of information</a:t>
            </a:r>
            <a:r>
              <a:rPr lang="en-US" sz="1700" b="0">
                <a:solidFill>
                  <a:schemeClr val="tx2"/>
                </a:solidFill>
                <a:latin typeface="Book Antiqua" panose="02040602050305030304" pitchFamily="18" charset="0"/>
              </a:rPr>
              <a:t>; </a:t>
            </a:r>
            <a:r>
              <a:rPr lang="en-US" sz="1700" b="0" u="none" strike="noStrike">
                <a:solidFill>
                  <a:schemeClr val="tx2"/>
                </a:solidFill>
                <a:effectLst/>
                <a:latin typeface="Book Antiqua" panose="02040602050305030304" pitchFamily="18" charset="0"/>
              </a:rPr>
              <a:t>we are onl</a:t>
            </a:r>
            <a:r>
              <a:rPr lang="en-US" sz="1700" b="0">
                <a:solidFill>
                  <a:schemeClr val="tx2"/>
                </a:solidFill>
                <a:latin typeface="Book Antiqua" panose="02040602050305030304" pitchFamily="18" charset="0"/>
              </a:rPr>
              <a:t>y sharing the difference in performance between the highest performance race/ethnicity and the lowest</a:t>
            </a:r>
          </a:p>
          <a:p>
            <a:pPr marL="990600" lvl="3" indent="-457200">
              <a:spcAft>
                <a:spcPts val="600"/>
              </a:spcAft>
              <a:buClrTx/>
              <a:buFont typeface="+mj-lt"/>
              <a:buAutoNum type="arabicPeriod"/>
            </a:pPr>
            <a:r>
              <a:rPr lang="en-US" sz="1700" b="0" u="none" strike="noStrike">
                <a:solidFill>
                  <a:schemeClr val="tx2"/>
                </a:solidFill>
                <a:effectLst/>
                <a:latin typeface="Book Antiqua" panose="02040602050305030304" pitchFamily="18" charset="0"/>
              </a:rPr>
              <a:t>Boston Children's Hospital ACO. EOHHS Quality Measure Alignment Taskforce Health Equity Subcommittee Pilot Data Collection. BCH and PPOC Jan-Dec 2018 EHR data (we compared lowest to highest performing subpopulations).</a:t>
            </a:r>
          </a:p>
          <a:p>
            <a:pPr marL="457200" indent="-457200">
              <a:spcAft>
                <a:spcPts val="600"/>
              </a:spcAft>
              <a:buFont typeface="+mj-lt"/>
              <a:buAutoNum type="alphaUcPeriod" startAt="3"/>
            </a:pPr>
            <a:r>
              <a:rPr lang="en-US" sz="1700" b="0" u="none" strike="noStrike">
                <a:solidFill>
                  <a:srgbClr val="0070C0"/>
                </a:solidFill>
                <a:effectLst/>
                <a:latin typeface="Book Antiqua" panose="02040602050305030304" pitchFamily="18" charset="0"/>
                <a:hlinkClick r:id="rId3">
                  <a:extLst>
                    <a:ext uri="{A12FA001-AC4F-418D-AE19-62706E023703}">
                      <ahyp:hlinkClr xmlns:ahyp="http://schemas.microsoft.com/office/drawing/2018/hyperlinkcolor" val="tx"/>
                    </a:ext>
                  </a:extLst>
                </a:hlinkClick>
              </a:rPr>
              <a:t>“</a:t>
            </a:r>
            <a:r>
              <a:rPr lang="en-US" b="0" u="none" strike="noStrike">
                <a:solidFill>
                  <a:srgbClr val="0070C0"/>
                </a:solidFill>
                <a:effectLst/>
                <a:latin typeface="Book Antiqua" panose="02040602050305030304" pitchFamily="18" charset="0"/>
                <a:hlinkClick r:id="rId3">
                  <a:extLst>
                    <a:ext uri="{A12FA001-AC4F-418D-AE19-62706E023703}">
                      <ahyp:hlinkClr xmlns:ahyp="http://schemas.microsoft.com/office/drawing/2018/hyperlinkcolor" val="tx"/>
                    </a:ext>
                  </a:extLst>
                </a:hlinkClick>
              </a:rPr>
              <a:t>How States Can Use Measurement as a Foundation for Tackling Health Disparities in Medicaid Managed Care</a:t>
            </a:r>
            <a:r>
              <a:rPr lang="en-US" b="0" u="none" strike="noStrike">
                <a:solidFill>
                  <a:srgbClr val="0070C0"/>
                </a:solidFill>
                <a:effectLst/>
                <a:latin typeface="Book Antiqua" panose="02040602050305030304" pitchFamily="18" charset="0"/>
              </a:rPr>
              <a:t>”</a:t>
            </a:r>
            <a:endParaRPr lang="en-US" b="0" u="none" strike="noStrike">
              <a:effectLst/>
              <a:latin typeface="Book Antiqua" panose="02040602050305030304" pitchFamily="18" charset="0"/>
            </a:endParaRPr>
          </a:p>
          <a:p>
            <a:pPr marL="457200" indent="-457200">
              <a:spcAft>
                <a:spcPts val="300"/>
              </a:spcAft>
              <a:buFont typeface="+mj-lt"/>
              <a:buAutoNum type="alphaUcPeriod" startAt="3"/>
            </a:pPr>
            <a:r>
              <a:rPr lang="en-US" b="0" u="none" strike="noStrike">
                <a:effectLst/>
                <a:latin typeface="Book Antiqua" panose="02040602050305030304" pitchFamily="18" charset="0"/>
              </a:rPr>
              <a:t>State Disparities Research</a:t>
            </a:r>
            <a:r>
              <a:rPr lang="en-US" b="0"/>
              <a:t> conducted by Bailit Health</a:t>
            </a:r>
          </a:p>
          <a:p>
            <a:pPr marL="990600" lvl="3" indent="-457200">
              <a:spcAft>
                <a:spcPts val="0"/>
              </a:spcAft>
              <a:buClr>
                <a:schemeClr val="tx1"/>
              </a:buClr>
              <a:buFont typeface="+mj-lt"/>
              <a:buAutoNum type="arabicPeriod"/>
            </a:pPr>
            <a:r>
              <a:rPr lang="en-US" sz="1700" b="0">
                <a:solidFill>
                  <a:srgbClr val="0070C0"/>
                </a:solidFill>
                <a:latin typeface="Book Antiqua" panose="02040602050305030304" pitchFamily="18" charset="0"/>
                <a:hlinkClick r:id="rId4">
                  <a:extLst>
                    <a:ext uri="{A12FA001-AC4F-418D-AE19-62706E023703}">
                      <ahyp:hlinkClr xmlns:ahyp="http://schemas.microsoft.com/office/drawing/2018/hyperlinkcolor" val="tx"/>
                    </a:ext>
                  </a:extLst>
                </a:hlinkClick>
              </a:rPr>
              <a:t>CA’s Medi-Cal Managed Care External Quality Review Technical Report</a:t>
            </a:r>
            <a:endParaRPr lang="en-US" sz="1700" b="0">
              <a:solidFill>
                <a:srgbClr val="0070C0"/>
              </a:solidFill>
              <a:latin typeface="Book Antiqua" panose="02040602050305030304" pitchFamily="18" charset="0"/>
            </a:endParaRPr>
          </a:p>
          <a:p>
            <a:pPr marL="990600" lvl="3" indent="-457200">
              <a:spcAft>
                <a:spcPts val="0"/>
              </a:spcAft>
              <a:buClr>
                <a:schemeClr val="tx1"/>
              </a:buClr>
              <a:buFont typeface="+mj-lt"/>
              <a:buAutoNum type="arabicPeriod"/>
            </a:pPr>
            <a:r>
              <a:rPr lang="en-US" sz="1700" b="0">
                <a:solidFill>
                  <a:srgbClr val="0070C0"/>
                </a:solidFill>
                <a:latin typeface="Book Antiqua" panose="02040602050305030304" pitchFamily="18" charset="0"/>
                <a:hlinkClick r:id="rId5">
                  <a:extLst>
                    <a:ext uri="{A12FA001-AC4F-418D-AE19-62706E023703}">
                      <ahyp:hlinkClr xmlns:ahyp="http://schemas.microsoft.com/office/drawing/2018/hyperlinkcolor" val="tx"/>
                    </a:ext>
                  </a:extLst>
                </a:hlinkClick>
              </a:rPr>
              <a:t>MI’s Medicaid Health Equity Project Year 7 Report</a:t>
            </a:r>
            <a:endParaRPr lang="en-US" sz="1700" b="0">
              <a:solidFill>
                <a:srgbClr val="0070C0"/>
              </a:solidFill>
              <a:latin typeface="Book Antiqua" panose="02040602050305030304" pitchFamily="18" charset="0"/>
            </a:endParaRPr>
          </a:p>
          <a:p>
            <a:pPr marL="990600" lvl="3" indent="-457200">
              <a:buClr>
                <a:schemeClr val="tx1"/>
              </a:buClr>
              <a:buFont typeface="+mj-lt"/>
              <a:buAutoNum type="arabicPeriod"/>
            </a:pPr>
            <a:r>
              <a:rPr lang="en-US" sz="1700" b="0">
                <a:solidFill>
                  <a:srgbClr val="0070C0"/>
                </a:solidFill>
                <a:latin typeface="Book Antiqua" panose="02040602050305030304" pitchFamily="18" charset="0"/>
              </a:rPr>
              <a:t>MN’s 2017 Health Care Disparities Report</a:t>
            </a:r>
          </a:p>
        </p:txBody>
      </p:sp>
    </p:spTree>
    <p:extLst>
      <p:ext uri="{BB962C8B-B14F-4D97-AF65-F5344CB8AC3E}">
        <p14:creationId xmlns:p14="http://schemas.microsoft.com/office/powerpoint/2010/main" val="548350180"/>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F7927-819D-4A4F-8313-886FAE8403C5}"/>
              </a:ext>
            </a:extLst>
          </p:cNvPr>
          <p:cNvSpPr>
            <a:spLocks noGrp="1"/>
          </p:cNvSpPr>
          <p:nvPr>
            <p:ph type="title"/>
          </p:nvPr>
        </p:nvSpPr>
        <p:spPr/>
        <p:txBody>
          <a:bodyPr/>
          <a:lstStyle/>
          <a:p>
            <a:r>
              <a:rPr lang="en-US"/>
              <a:t>Sources for “Opportunities to Promote Health Equity”</a:t>
            </a:r>
          </a:p>
        </p:txBody>
      </p:sp>
      <p:sp>
        <p:nvSpPr>
          <p:cNvPr id="3" name="Content Placeholder 2">
            <a:extLst>
              <a:ext uri="{FF2B5EF4-FFF2-40B4-BE49-F238E27FC236}">
                <a16:creationId xmlns:a16="http://schemas.microsoft.com/office/drawing/2014/main" id="{C1ACF851-F1A0-47BB-B553-CF914E9CC80C}"/>
              </a:ext>
            </a:extLst>
          </p:cNvPr>
          <p:cNvSpPr>
            <a:spLocks noGrp="1"/>
          </p:cNvSpPr>
          <p:nvPr>
            <p:ph sz="half" idx="1"/>
          </p:nvPr>
        </p:nvSpPr>
        <p:spPr>
          <a:xfrm>
            <a:off x="266699" y="1228858"/>
            <a:ext cx="8877301" cy="5334323"/>
          </a:xfrm>
        </p:spPr>
        <p:txBody>
          <a:bodyPr/>
          <a:lstStyle/>
          <a:p>
            <a:pPr marL="457200" indent="-457200">
              <a:buFont typeface="+mj-lt"/>
              <a:buAutoNum type="alphaUcPeriod" startAt="5"/>
            </a:pPr>
            <a:r>
              <a:rPr lang="en-US" b="0" u="none" strike="noStrike">
                <a:solidFill>
                  <a:srgbClr val="0070C0"/>
                </a:solidFill>
                <a:effectLst/>
                <a:latin typeface="Book Antiqua" panose="02040602050305030304" pitchFamily="18" charset="0"/>
                <a:hlinkClick r:id="rId3">
                  <a:extLst>
                    <a:ext uri="{A12FA001-AC4F-418D-AE19-62706E023703}">
                      <ahyp:hlinkClr xmlns:ahyp="http://schemas.microsoft.com/office/drawing/2018/hyperlinkcolor" val="tx"/>
                    </a:ext>
                  </a:extLst>
                </a:hlinkClick>
              </a:rPr>
              <a:t>Buying Value Tool: Disparities-Sensitive Measures</a:t>
            </a:r>
            <a:endParaRPr lang="en-US" b="0" u="none" strike="noStrike">
              <a:solidFill>
                <a:srgbClr val="0070C0"/>
              </a:solidFill>
              <a:effectLst/>
              <a:latin typeface="Book Antiqua" panose="02040602050305030304" pitchFamily="18" charset="0"/>
            </a:endParaRPr>
          </a:p>
          <a:p>
            <a:pPr marL="457200" indent="-457200">
              <a:buFont typeface="+mj-lt"/>
              <a:buAutoNum type="alphaUcPeriod" startAt="5"/>
            </a:pPr>
            <a:r>
              <a:rPr lang="en-US" b="0">
                <a:solidFill>
                  <a:srgbClr val="0070C0"/>
                </a:solidFill>
                <a:hlinkClick r:id="rId4">
                  <a:extLst>
                    <a:ext uri="{A12FA001-AC4F-418D-AE19-62706E023703}">
                      <ahyp:hlinkClr xmlns:ahyp="http://schemas.microsoft.com/office/drawing/2018/hyperlinkcolor" val="tx"/>
                    </a:ext>
                  </a:extLst>
                </a:hlinkClick>
              </a:rPr>
              <a:t>National Healthcare Quality and Disparities Report 2018</a:t>
            </a:r>
            <a:endParaRPr lang="en-US" b="0">
              <a:solidFill>
                <a:srgbClr val="0070C0"/>
              </a:solidFill>
            </a:endParaRPr>
          </a:p>
          <a:p>
            <a:pPr marL="457200" indent="-457200">
              <a:buFont typeface="+mj-lt"/>
              <a:buAutoNum type="alphaUcPeriod" startAt="5"/>
            </a:pPr>
            <a:r>
              <a:rPr lang="en-US" b="0"/>
              <a:t>Public comments (solicited through 12/14/20 request) – no relevant responses received</a:t>
            </a:r>
          </a:p>
          <a:p>
            <a:pPr marL="457200" indent="-457200">
              <a:buFont typeface="+mj-lt"/>
              <a:buAutoNum type="alphaUcPeriod" startAt="5"/>
            </a:pPr>
            <a:r>
              <a:rPr lang="en-US" b="0"/>
              <a:t>Disparities by Disability Status Literature Search: The sources above focused primarily on race, ethnicity, and language without attention to disability status.  Therefore, we supplemented the above work by searching for data on inequities by disability status by measure.  Sources by measure can be found within the Crosswalk.</a:t>
            </a:r>
          </a:p>
          <a:p>
            <a:pPr marL="0" indent="0">
              <a:buNone/>
            </a:pPr>
            <a:r>
              <a:rPr lang="en-US" b="0"/>
              <a:t>Not all results are displayed on each slide.  All information can be found in the Disparities Research tab of the Crosswalk.</a:t>
            </a:r>
          </a:p>
          <a:p>
            <a:pPr marL="0" indent="0">
              <a:buNone/>
            </a:pPr>
            <a:endParaRPr lang="en-US" b="0"/>
          </a:p>
          <a:p>
            <a:pPr>
              <a:buFont typeface="Wingdings" panose="05000000000000000000" pitchFamily="2" charset="2"/>
              <a:buChar char="Ø"/>
            </a:pPr>
            <a:r>
              <a:rPr lang="en-US" b="0"/>
              <a:t>Thank you to the organizations that shared their data with us!</a:t>
            </a:r>
          </a:p>
          <a:p>
            <a:pPr marL="644525" lvl="1" indent="-457200">
              <a:buFont typeface="+mj-lt"/>
              <a:buAutoNum type="alphaUcPeriod"/>
            </a:pPr>
            <a:endParaRPr lang="en-US" sz="1800" u="none" strike="noStrike">
              <a:effectLst/>
              <a:latin typeface="Book Antiqua" panose="02040602050305030304" pitchFamily="18" charset="0"/>
            </a:endParaRPr>
          </a:p>
          <a:p>
            <a:pPr marL="457200" indent="-457200">
              <a:buFont typeface="+mj-lt"/>
              <a:buAutoNum type="alphaUcPeriod" startAt="5"/>
            </a:pPr>
            <a:endParaRPr lang="en-US"/>
          </a:p>
        </p:txBody>
      </p:sp>
    </p:spTree>
    <p:extLst>
      <p:ext uri="{BB962C8B-B14F-4D97-AF65-F5344CB8AC3E}">
        <p14:creationId xmlns:p14="http://schemas.microsoft.com/office/powerpoint/2010/main" val="2458203957"/>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8691C-A694-4A45-A038-F72B9C23EEA0}"/>
              </a:ext>
            </a:extLst>
          </p:cNvPr>
          <p:cNvSpPr>
            <a:spLocks noGrp="1"/>
          </p:cNvSpPr>
          <p:nvPr>
            <p:ph type="title"/>
          </p:nvPr>
        </p:nvSpPr>
        <p:spPr/>
        <p:txBody>
          <a:bodyPr/>
          <a:lstStyle/>
          <a:p>
            <a:r>
              <a:rPr lang="en-US"/>
              <a:t>Sources for Other Considerations</a:t>
            </a:r>
          </a:p>
        </p:txBody>
      </p:sp>
      <p:sp>
        <p:nvSpPr>
          <p:cNvPr id="3" name="Content Placeholder 2">
            <a:extLst>
              <a:ext uri="{FF2B5EF4-FFF2-40B4-BE49-F238E27FC236}">
                <a16:creationId xmlns:a16="http://schemas.microsoft.com/office/drawing/2014/main" id="{C459E275-C164-416D-AB74-FBFD0C47C667}"/>
              </a:ext>
            </a:extLst>
          </p:cNvPr>
          <p:cNvSpPr>
            <a:spLocks noGrp="1"/>
          </p:cNvSpPr>
          <p:nvPr>
            <p:ph sz="half" idx="1"/>
          </p:nvPr>
        </p:nvSpPr>
        <p:spPr>
          <a:xfrm>
            <a:off x="309715" y="1219909"/>
            <a:ext cx="8834285" cy="5528553"/>
          </a:xfrm>
        </p:spPr>
        <p:txBody>
          <a:bodyPr/>
          <a:lstStyle/>
          <a:p>
            <a:pPr>
              <a:spcAft>
                <a:spcPts val="600"/>
              </a:spcAft>
            </a:pPr>
            <a:r>
              <a:rPr lang="en-US"/>
              <a:t>Measure set changes</a:t>
            </a:r>
          </a:p>
          <a:p>
            <a:pPr lvl="1">
              <a:spcAft>
                <a:spcPts val="0"/>
              </a:spcAft>
            </a:pPr>
            <a:r>
              <a:rPr lang="en-US" sz="1800" b="0"/>
              <a:t>HEDIS – no changes since last annual review</a:t>
            </a:r>
          </a:p>
          <a:p>
            <a:pPr lvl="1">
              <a:spcAft>
                <a:spcPts val="0"/>
              </a:spcAft>
            </a:pPr>
            <a:r>
              <a:rPr lang="en-US" sz="1800" b="0"/>
              <a:t>MassHealth – no changes reported by MassHealth</a:t>
            </a:r>
          </a:p>
          <a:p>
            <a:pPr lvl="1">
              <a:spcAft>
                <a:spcPts val="0"/>
              </a:spcAft>
            </a:pPr>
            <a:r>
              <a:rPr lang="en-US" sz="1800" b="0"/>
              <a:t>Medicaid Core Sets – </a:t>
            </a:r>
            <a:r>
              <a:rPr lang="en-US" sz="1800" b="0">
                <a:solidFill>
                  <a:srgbClr val="0070C0"/>
                </a:solidFill>
                <a:hlinkClick r:id="rId2">
                  <a:extLst>
                    <a:ext uri="{A12FA001-AC4F-418D-AE19-62706E023703}">
                      <ahyp:hlinkClr xmlns:ahyp="http://schemas.microsoft.com/office/drawing/2018/hyperlinkcolor" val="tx"/>
                    </a:ext>
                  </a:extLst>
                </a:hlinkClick>
              </a:rPr>
              <a:t>CMS 2021 Updates to the Child and Adult Core Health Care Quality Measurement</a:t>
            </a:r>
            <a:r>
              <a:rPr lang="en-US" sz="1800" b="0">
                <a:solidFill>
                  <a:srgbClr val="0070C0"/>
                </a:solidFill>
              </a:rPr>
              <a:t> </a:t>
            </a:r>
            <a:r>
              <a:rPr lang="en-US" sz="1800" b="0"/>
              <a:t> – no changes to measures in our Set</a:t>
            </a:r>
          </a:p>
          <a:p>
            <a:pPr lvl="1"/>
            <a:r>
              <a:rPr lang="en-US" sz="1800" b="0"/>
              <a:t>MSSP – </a:t>
            </a:r>
            <a:r>
              <a:rPr lang="en-US" sz="1800" b="0">
                <a:solidFill>
                  <a:srgbClr val="0070C0"/>
                </a:solidFill>
                <a:hlinkClick r:id="rId3">
                  <a:extLst>
                    <a:ext uri="{A12FA001-AC4F-418D-AE19-62706E023703}">
                      <ahyp:hlinkClr xmlns:ahyp="http://schemas.microsoft.com/office/drawing/2018/hyperlinkcolor" val="tx"/>
                    </a:ext>
                  </a:extLst>
                </a:hlinkClick>
              </a:rPr>
              <a:t>MSSP Quality Measure Benchmarks for the 2020/2021 Performance Years</a:t>
            </a:r>
            <a:r>
              <a:rPr lang="en-US" sz="1800" b="0"/>
              <a:t> – no changes; </a:t>
            </a:r>
            <a:r>
              <a:rPr lang="en-US" sz="1800" b="0">
                <a:solidFill>
                  <a:srgbClr val="0070C0"/>
                </a:solidFill>
                <a:hlinkClick r:id="rId4">
                  <a:extLst>
                    <a:ext uri="{A12FA001-AC4F-418D-AE19-62706E023703}">
                      <ahyp:hlinkClr xmlns:ahyp="http://schemas.microsoft.com/office/drawing/2018/hyperlinkcolor" val="tx"/>
                    </a:ext>
                  </a:extLst>
                </a:hlinkClick>
              </a:rPr>
              <a:t>CMS List of Measures under Consideration for December 21, 2020</a:t>
            </a:r>
            <a:endParaRPr lang="en-US" sz="1800" b="0">
              <a:solidFill>
                <a:srgbClr val="0070C0"/>
              </a:solidFill>
            </a:endParaRPr>
          </a:p>
          <a:p>
            <a:pPr lvl="1"/>
            <a:endParaRPr lang="en-US" sz="300" b="0">
              <a:solidFill>
                <a:srgbClr val="0070C0"/>
              </a:solidFill>
            </a:endParaRPr>
          </a:p>
          <a:p>
            <a:pPr>
              <a:spcAft>
                <a:spcPts val="600"/>
              </a:spcAft>
            </a:pPr>
            <a:r>
              <a:rPr lang="en-US"/>
              <a:t>Specification changes</a:t>
            </a:r>
          </a:p>
          <a:p>
            <a:pPr lvl="1">
              <a:spcAft>
                <a:spcPts val="0"/>
              </a:spcAft>
            </a:pPr>
            <a:r>
              <a:rPr lang="en-US" sz="1800" b="0"/>
              <a:t>We are not aware of any major specification changes at this time; we welcome you to share any major specification changes you know of for Taskforce consideration.</a:t>
            </a:r>
          </a:p>
          <a:p>
            <a:pPr lvl="1">
              <a:spcAft>
                <a:spcPts val="0"/>
              </a:spcAft>
            </a:pPr>
            <a:r>
              <a:rPr lang="en-US" sz="1800" b="0"/>
              <a:t>HEDIS – no changes since last annual review</a:t>
            </a:r>
          </a:p>
          <a:p>
            <a:pPr lvl="1"/>
            <a:r>
              <a:rPr lang="en-US" sz="1800" b="0"/>
              <a:t>Medicaid Core Sets – updated technical specifications to be released in the spring</a:t>
            </a:r>
          </a:p>
        </p:txBody>
      </p:sp>
    </p:spTree>
    <p:extLst>
      <p:ext uri="{BB962C8B-B14F-4D97-AF65-F5344CB8AC3E}">
        <p14:creationId xmlns:p14="http://schemas.microsoft.com/office/powerpoint/2010/main" val="89692184"/>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8691C-A694-4A45-A038-F72B9C23EEA0}"/>
              </a:ext>
            </a:extLst>
          </p:cNvPr>
          <p:cNvSpPr>
            <a:spLocks noGrp="1"/>
          </p:cNvSpPr>
          <p:nvPr>
            <p:ph type="title"/>
          </p:nvPr>
        </p:nvSpPr>
        <p:spPr/>
        <p:txBody>
          <a:bodyPr/>
          <a:lstStyle/>
          <a:p>
            <a:r>
              <a:rPr lang="en-US"/>
              <a:t>Sources for Other Considerations</a:t>
            </a:r>
          </a:p>
        </p:txBody>
      </p:sp>
      <p:sp>
        <p:nvSpPr>
          <p:cNvPr id="3" name="Content Placeholder 2">
            <a:extLst>
              <a:ext uri="{FF2B5EF4-FFF2-40B4-BE49-F238E27FC236}">
                <a16:creationId xmlns:a16="http://schemas.microsoft.com/office/drawing/2014/main" id="{C459E275-C164-416D-AB74-FBFD0C47C667}"/>
              </a:ext>
            </a:extLst>
          </p:cNvPr>
          <p:cNvSpPr>
            <a:spLocks noGrp="1"/>
          </p:cNvSpPr>
          <p:nvPr>
            <p:ph sz="half" idx="1"/>
          </p:nvPr>
        </p:nvSpPr>
        <p:spPr>
          <a:xfrm>
            <a:off x="253444" y="1343199"/>
            <a:ext cx="8341916" cy="4556234"/>
          </a:xfrm>
        </p:spPr>
        <p:txBody>
          <a:bodyPr/>
          <a:lstStyle/>
          <a:p>
            <a:r>
              <a:rPr lang="en-US"/>
              <a:t>Recent performance</a:t>
            </a:r>
          </a:p>
          <a:p>
            <a:pPr lvl="1">
              <a:spcAft>
                <a:spcPts val="300"/>
              </a:spcAft>
            </a:pPr>
            <a:r>
              <a:rPr lang="en-US" sz="1900" b="0"/>
              <a:t>MassHealth data from Paul Kirby (12/1/20) for HEDIS 2020, including PCC and MCO performance.  NCQA HEDIS 2020 national Medicaid HMO percentile benchmarks were used to assess opportunity for improvement.</a:t>
            </a:r>
          </a:p>
          <a:p>
            <a:pPr lvl="1">
              <a:spcAft>
                <a:spcPts val="300"/>
              </a:spcAft>
            </a:pPr>
            <a:r>
              <a:rPr lang="en-US" sz="1900" b="0"/>
              <a:t>Commercial population performance, weighted by enrollment for BCBSMA (HMO/POS), BCBSMA (PPO), HPHC (HMO/POS), THP (HMO/POS/EPO).  Compared to National ALOB percentiles for each year.</a:t>
            </a:r>
          </a:p>
          <a:p>
            <a:pPr lvl="1">
              <a:spcAft>
                <a:spcPts val="300"/>
              </a:spcAft>
            </a:pPr>
            <a:r>
              <a:rPr lang="en-US" sz="1900" b="0"/>
              <a:t>Prior year performance data were collected as part of prior annual review processes.</a:t>
            </a:r>
          </a:p>
          <a:p>
            <a:pPr lvl="1">
              <a:spcAft>
                <a:spcPts val="300"/>
              </a:spcAft>
            </a:pPr>
            <a:r>
              <a:rPr lang="en-US" sz="1900" b="0"/>
              <a:t>We have noted if performance has improved, declined, or is roughly the same (within one percentage point) from prior years.</a:t>
            </a:r>
          </a:p>
          <a:p>
            <a:pPr lvl="2"/>
            <a:endParaRPr lang="en-US" sz="1600" b="0"/>
          </a:p>
          <a:p>
            <a:endParaRPr lang="en-US"/>
          </a:p>
        </p:txBody>
      </p:sp>
      <p:graphicFrame>
        <p:nvGraphicFramePr>
          <p:cNvPr id="6" name="Table 5">
            <a:extLst>
              <a:ext uri="{FF2B5EF4-FFF2-40B4-BE49-F238E27FC236}">
                <a16:creationId xmlns:a16="http://schemas.microsoft.com/office/drawing/2014/main" id="{00C1D98E-05EB-40AF-885D-8B1317B40187}"/>
              </a:ext>
            </a:extLst>
          </p:cNvPr>
          <p:cNvGraphicFramePr>
            <a:graphicFrameLocks noGrp="1"/>
          </p:cNvGraphicFramePr>
          <p:nvPr>
            <p:extLst>
              <p:ext uri="{D42A27DB-BD31-4B8C-83A1-F6EECF244321}">
                <p14:modId xmlns:p14="http://schemas.microsoft.com/office/powerpoint/2010/main" val="3395416260"/>
              </p:ext>
            </p:extLst>
          </p:nvPr>
        </p:nvGraphicFramePr>
        <p:xfrm>
          <a:off x="762000" y="5569868"/>
          <a:ext cx="7620000" cy="659130"/>
        </p:xfrm>
        <a:graphic>
          <a:graphicData uri="http://schemas.openxmlformats.org/drawingml/2006/table">
            <a:tbl>
              <a:tblPr/>
              <a:tblGrid>
                <a:gridCol w="1486095">
                  <a:extLst>
                    <a:ext uri="{9D8B030D-6E8A-4147-A177-3AD203B41FA5}">
                      <a16:colId xmlns:a16="http://schemas.microsoft.com/office/drawing/2014/main" val="1380970924"/>
                    </a:ext>
                  </a:extLst>
                </a:gridCol>
                <a:gridCol w="1631853">
                  <a:extLst>
                    <a:ext uri="{9D8B030D-6E8A-4147-A177-3AD203B41FA5}">
                      <a16:colId xmlns:a16="http://schemas.microsoft.com/office/drawing/2014/main" val="3115902608"/>
                    </a:ext>
                  </a:extLst>
                </a:gridCol>
                <a:gridCol w="1505243">
                  <a:extLst>
                    <a:ext uri="{9D8B030D-6E8A-4147-A177-3AD203B41FA5}">
                      <a16:colId xmlns:a16="http://schemas.microsoft.com/office/drawing/2014/main" val="1590034000"/>
                    </a:ext>
                  </a:extLst>
                </a:gridCol>
                <a:gridCol w="1561514">
                  <a:extLst>
                    <a:ext uri="{9D8B030D-6E8A-4147-A177-3AD203B41FA5}">
                      <a16:colId xmlns:a16="http://schemas.microsoft.com/office/drawing/2014/main" val="3268355178"/>
                    </a:ext>
                  </a:extLst>
                </a:gridCol>
                <a:gridCol w="1435295">
                  <a:extLst>
                    <a:ext uri="{9D8B030D-6E8A-4147-A177-3AD203B41FA5}">
                      <a16:colId xmlns:a16="http://schemas.microsoft.com/office/drawing/2014/main" val="3548439780"/>
                    </a:ext>
                  </a:extLst>
                </a:gridCol>
              </a:tblGrid>
              <a:tr h="190500">
                <a:tc gridSpan="5">
                  <a:txBody>
                    <a:bodyPr/>
                    <a:lstStyle/>
                    <a:p>
                      <a:pPr algn="ctr" fontAlgn="ctr"/>
                      <a:r>
                        <a:rPr lang="en-US" sz="1400" b="1" i="0" u="none" strike="noStrike">
                          <a:solidFill>
                            <a:srgbClr val="000000"/>
                          </a:solidFill>
                          <a:effectLst/>
                          <a:latin typeface="Arial" panose="020B0604020202020204" pitchFamily="34" charset="0"/>
                        </a:rPr>
                        <a:t>Ke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500051104"/>
                  </a:ext>
                </a:extLst>
              </a:tr>
              <a:tr h="323850">
                <a:tc>
                  <a:txBody>
                    <a:bodyPr/>
                    <a:lstStyle/>
                    <a:p>
                      <a:pPr algn="ctr" fontAlgn="ctr"/>
                      <a:r>
                        <a:rPr lang="en-US" sz="1400" b="0" i="0" u="none" strike="noStrike">
                          <a:solidFill>
                            <a:srgbClr val="000000"/>
                          </a:solidFill>
                          <a:effectLst/>
                          <a:latin typeface="Arial" panose="020B0604020202020204" pitchFamily="34" charset="0"/>
                        </a:rPr>
                        <a:t>&lt;25t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9791"/>
                    </a:solidFill>
                  </a:tcPr>
                </a:tc>
                <a:tc>
                  <a:txBody>
                    <a:bodyPr/>
                    <a:lstStyle/>
                    <a:p>
                      <a:pPr algn="ctr" fontAlgn="ctr"/>
                      <a:r>
                        <a:rPr lang="en-US" sz="1400" b="0" i="0" u="none" strike="noStrike">
                          <a:solidFill>
                            <a:srgbClr val="000000"/>
                          </a:solidFill>
                          <a:effectLst/>
                          <a:latin typeface="Arial" panose="020B0604020202020204" pitchFamily="34" charset="0"/>
                        </a:rPr>
                        <a:t>Between 25th and 50t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CFCC"/>
                    </a:solidFill>
                  </a:tcPr>
                </a:tc>
                <a:tc>
                  <a:txBody>
                    <a:bodyPr/>
                    <a:lstStyle/>
                    <a:p>
                      <a:pPr algn="ctr" fontAlgn="ctr"/>
                      <a:r>
                        <a:rPr lang="en-US" sz="1400" b="0" i="0" u="none" strike="noStrike">
                          <a:solidFill>
                            <a:srgbClr val="000000"/>
                          </a:solidFill>
                          <a:effectLst/>
                          <a:latin typeface="Arial" panose="020B0604020202020204" pitchFamily="34" charset="0"/>
                        </a:rPr>
                        <a:t>Between 50th and 75t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1400" b="0" i="0" u="none" strike="noStrike">
                          <a:solidFill>
                            <a:srgbClr val="000000"/>
                          </a:solidFill>
                          <a:effectLst/>
                          <a:latin typeface="Arial" panose="020B0604020202020204" pitchFamily="34" charset="0"/>
                        </a:rPr>
                        <a:t>Between 75th and 90t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1400" b="0" i="0" u="none" strike="noStrike">
                          <a:solidFill>
                            <a:srgbClr val="000000"/>
                          </a:solidFill>
                          <a:effectLst/>
                          <a:latin typeface="Arial" panose="020B0604020202020204" pitchFamily="34" charset="0"/>
                        </a:rPr>
                        <a:t>≥90t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2621897903"/>
                  </a:ext>
                </a:extLst>
              </a:tr>
            </a:tbl>
          </a:graphicData>
        </a:graphic>
      </p:graphicFrame>
    </p:spTree>
    <p:extLst>
      <p:ext uri="{BB962C8B-B14F-4D97-AF65-F5344CB8AC3E}">
        <p14:creationId xmlns:p14="http://schemas.microsoft.com/office/powerpoint/2010/main" val="2707757372"/>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B5240-24B9-4BD5-8C19-8C1E9F90C163}"/>
              </a:ext>
            </a:extLst>
          </p:cNvPr>
          <p:cNvSpPr>
            <a:spLocks noGrp="1"/>
          </p:cNvSpPr>
          <p:nvPr>
            <p:ph type="title"/>
          </p:nvPr>
        </p:nvSpPr>
        <p:spPr/>
        <p:txBody>
          <a:bodyPr/>
          <a:lstStyle/>
          <a:p>
            <a:r>
              <a:rPr lang="en-US"/>
              <a:t>CG-CAHPS (MHQP Version) (Core)</a:t>
            </a:r>
          </a:p>
        </p:txBody>
      </p:sp>
      <p:graphicFrame>
        <p:nvGraphicFramePr>
          <p:cNvPr id="5" name="Table 5">
            <a:extLst>
              <a:ext uri="{FF2B5EF4-FFF2-40B4-BE49-F238E27FC236}">
                <a16:creationId xmlns:a16="http://schemas.microsoft.com/office/drawing/2014/main" id="{E4C10673-4BAC-49CF-82BA-8FFE601189D8}"/>
              </a:ext>
            </a:extLst>
          </p:cNvPr>
          <p:cNvGraphicFramePr>
            <a:graphicFrameLocks noGrp="1"/>
          </p:cNvGraphicFramePr>
          <p:nvPr>
            <p:extLst>
              <p:ext uri="{D42A27DB-BD31-4B8C-83A1-F6EECF244321}">
                <p14:modId xmlns:p14="http://schemas.microsoft.com/office/powerpoint/2010/main" val="4035490288"/>
              </p:ext>
            </p:extLst>
          </p:nvPr>
        </p:nvGraphicFramePr>
        <p:xfrm>
          <a:off x="330200" y="5603856"/>
          <a:ext cx="8518383" cy="1010920"/>
        </p:xfrm>
        <a:graphic>
          <a:graphicData uri="http://schemas.openxmlformats.org/drawingml/2006/table">
            <a:tbl>
              <a:tblPr firstRow="1" bandRow="1">
                <a:tableStyleId>{5C22544A-7EE6-4342-B048-85BDC9FD1C3A}</a:tableStyleId>
              </a:tblPr>
              <a:tblGrid>
                <a:gridCol w="2839461">
                  <a:extLst>
                    <a:ext uri="{9D8B030D-6E8A-4147-A177-3AD203B41FA5}">
                      <a16:colId xmlns:a16="http://schemas.microsoft.com/office/drawing/2014/main" val="2190465858"/>
                    </a:ext>
                  </a:extLst>
                </a:gridCol>
                <a:gridCol w="2839461">
                  <a:extLst>
                    <a:ext uri="{9D8B030D-6E8A-4147-A177-3AD203B41FA5}">
                      <a16:colId xmlns:a16="http://schemas.microsoft.com/office/drawing/2014/main" val="440397245"/>
                    </a:ext>
                  </a:extLst>
                </a:gridCol>
                <a:gridCol w="2839461">
                  <a:extLst>
                    <a:ext uri="{9D8B030D-6E8A-4147-A177-3AD203B41FA5}">
                      <a16:colId xmlns:a16="http://schemas.microsoft.com/office/drawing/2014/main" val="3053032867"/>
                    </a:ext>
                  </a:extLst>
                </a:gridCol>
              </a:tblGrid>
              <a:tr h="370840">
                <a:tc>
                  <a:txBody>
                    <a:bodyPr/>
                    <a:lstStyle/>
                    <a:p>
                      <a:pPr algn="ctr"/>
                      <a:r>
                        <a:rPr lang="en-US">
                          <a:latin typeface="Book Antiqua" panose="02040602050305030304" pitchFamily="18" charset="0"/>
                        </a:rPr>
                        <a:t>Set/Specification Chang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370840">
                <a:tc>
                  <a:txBody>
                    <a:bodyPr/>
                    <a:lstStyle/>
                    <a:p>
                      <a:pPr algn="ctr"/>
                      <a:r>
                        <a:rPr lang="en-US">
                          <a:latin typeface="Book Antiqua" panose="02040602050305030304" pitchFamily="18" charset="0"/>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a:latin typeface="Book Antiqua" panose="02040602050305030304" pitchFamily="18" charset="0"/>
                        </a:rPr>
                        <a:t>2019 data provided in the 2021 crosswal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a:latin typeface="Book Antiqua" panose="02040602050305030304" pitchFamily="18" charset="0"/>
                        </a:rPr>
                        <a:t>2018 data provided in the 2021 crosswal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35101418"/>
                  </a:ext>
                </a:extLst>
              </a:tr>
            </a:tbl>
          </a:graphicData>
        </a:graphic>
      </p:graphicFrame>
      <p:graphicFrame>
        <p:nvGraphicFramePr>
          <p:cNvPr id="6" name="Table 6">
            <a:extLst>
              <a:ext uri="{FF2B5EF4-FFF2-40B4-BE49-F238E27FC236}">
                <a16:creationId xmlns:a16="http://schemas.microsoft.com/office/drawing/2014/main" id="{7C95FCEF-E981-4708-9624-6A63751EF387}"/>
              </a:ext>
            </a:extLst>
          </p:cNvPr>
          <p:cNvGraphicFramePr>
            <a:graphicFrameLocks noGrp="1"/>
          </p:cNvGraphicFramePr>
          <p:nvPr>
            <p:extLst>
              <p:ext uri="{D42A27DB-BD31-4B8C-83A1-F6EECF244321}">
                <p14:modId xmlns:p14="http://schemas.microsoft.com/office/powerpoint/2010/main" val="1093905901"/>
              </p:ext>
            </p:extLst>
          </p:nvPr>
        </p:nvGraphicFramePr>
        <p:xfrm>
          <a:off x="330200" y="1114697"/>
          <a:ext cx="8518382" cy="4385980"/>
        </p:xfrm>
        <a:graphic>
          <a:graphicData uri="http://schemas.openxmlformats.org/drawingml/2006/table">
            <a:tbl>
              <a:tblPr firstRow="1" bandRow="1">
                <a:tableStyleId>{5C22544A-7EE6-4342-B048-85BDC9FD1C3A}</a:tableStyleId>
              </a:tblPr>
              <a:tblGrid>
                <a:gridCol w="2586762">
                  <a:extLst>
                    <a:ext uri="{9D8B030D-6E8A-4147-A177-3AD203B41FA5}">
                      <a16:colId xmlns:a16="http://schemas.microsoft.com/office/drawing/2014/main" val="3167798883"/>
                    </a:ext>
                  </a:extLst>
                </a:gridCol>
                <a:gridCol w="2890916">
                  <a:extLst>
                    <a:ext uri="{9D8B030D-6E8A-4147-A177-3AD203B41FA5}">
                      <a16:colId xmlns:a16="http://schemas.microsoft.com/office/drawing/2014/main" val="1698608290"/>
                    </a:ext>
                  </a:extLst>
                </a:gridCol>
                <a:gridCol w="3040704">
                  <a:extLst>
                    <a:ext uri="{9D8B030D-6E8A-4147-A177-3AD203B41FA5}">
                      <a16:colId xmlns:a16="http://schemas.microsoft.com/office/drawing/2014/main" val="3802407949"/>
                    </a:ext>
                  </a:extLst>
                </a:gridCol>
              </a:tblGrid>
              <a:tr h="373275">
                <a:tc>
                  <a:txBody>
                    <a:bodyPr/>
                    <a:lstStyle/>
                    <a:p>
                      <a:r>
                        <a:rPr lang="en-US">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a:latin typeface="Book Antiqua" panose="02040602050305030304" pitchFamily="18" charset="0"/>
                        </a:rPr>
                        <a:t>Langu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4012705">
                <a:tc>
                  <a:txBody>
                    <a:bodyPr/>
                    <a:lstStyle/>
                    <a:p>
                      <a:pPr marL="0" indent="0">
                        <a:buFont typeface="Arial" panose="020B0604020202020204" pitchFamily="34" charset="0"/>
                        <a:buNone/>
                      </a:pPr>
                      <a:r>
                        <a:rPr lang="en-US">
                          <a:latin typeface="Book Antiqua" panose="02040602050305030304" pitchFamily="18" charset="0"/>
                        </a:rPr>
                        <a:t>MGH performance: </a:t>
                      </a:r>
                    </a:p>
                    <a:p>
                      <a:pPr marL="285750" indent="-285750">
                        <a:buFont typeface="Arial" panose="020B0604020202020204" pitchFamily="34" charset="0"/>
                        <a:buChar char="•"/>
                      </a:pPr>
                      <a:r>
                        <a:rPr lang="en-US" b="1">
                          <a:latin typeface="Book Antiqua" panose="02040602050305030304" pitchFamily="18" charset="0"/>
                        </a:rPr>
                        <a:t>All racial/ethnic minorities lower</a:t>
                      </a:r>
                      <a:r>
                        <a:rPr lang="en-US">
                          <a:latin typeface="Book Antiqua" panose="02040602050305030304" pitchFamily="18" charset="0"/>
                        </a:rPr>
                        <a:t> than Whites on: </a:t>
                      </a:r>
                      <a:r>
                        <a:rPr lang="en-US" sz="1800" b="0">
                          <a:latin typeface="Book Antiqua" panose="02040602050305030304" pitchFamily="18" charset="0"/>
                        </a:rPr>
                        <a:t>Care Coordination, Provider Communication, and Provider Rating</a:t>
                      </a:r>
                    </a:p>
                    <a:p>
                      <a:pPr marL="285750" indent="-285750">
                        <a:buFont typeface="Arial" panose="020B0604020202020204" pitchFamily="34" charset="0"/>
                        <a:buChar char="•"/>
                      </a:pPr>
                      <a:r>
                        <a:rPr lang="en-US" sz="1800" b="1">
                          <a:latin typeface="Book Antiqua" panose="02040602050305030304" pitchFamily="18" charset="0"/>
                        </a:rPr>
                        <a:t>Asians had lower </a:t>
                      </a:r>
                      <a:r>
                        <a:rPr lang="en-US" sz="1800" b="0">
                          <a:latin typeface="Book Antiqua" panose="02040602050305030304" pitchFamily="18" charset="0"/>
                        </a:rPr>
                        <a:t>patient experience on all ambulatory composite</a:t>
                      </a:r>
                      <a:endParaRPr lang="en-US">
                        <a:latin typeface="Book Antiqua" panose="02040602050305030304" pitchFamily="18"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latin typeface="Book Antiqua" panose="02040602050305030304" pitchFamily="18" charset="0"/>
                        </a:rPr>
                        <a:t>B.1</a:t>
                      </a:r>
                      <a:r>
                        <a:rPr lang="en-US" sz="1200" b="0" u="none" strike="noStrike">
                          <a:effectLst/>
                          <a:latin typeface="Book Antiqua" panose="02040602050305030304" pitchFamily="18" charset="0"/>
                        </a:rPr>
                        <a:t> MGH, Annual Report on Equity in Health Care Quality (AREHQ) 2018-20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a:latin typeface="Book Antiqua" panose="02040602050305030304" pitchFamily="18" charset="0"/>
                        </a:rPr>
                        <a:t>MGH performa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1">
                          <a:latin typeface="Book Antiqua" panose="02040602050305030304" pitchFamily="18" charset="0"/>
                        </a:rPr>
                        <a:t>Non-English-speaking more likely </a:t>
                      </a:r>
                      <a:r>
                        <a:rPr lang="en-US" sz="1800" b="0">
                          <a:latin typeface="Book Antiqua" panose="02040602050305030304" pitchFamily="18" charset="0"/>
                        </a:rPr>
                        <a:t>to recommend their provid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1">
                          <a:latin typeface="Book Antiqua" panose="02040602050305030304" pitchFamily="18" charset="0"/>
                        </a:rPr>
                        <a:t>Non-English-speaking lower </a:t>
                      </a:r>
                      <a:r>
                        <a:rPr lang="en-US" sz="1800" b="0">
                          <a:latin typeface="Book Antiqua" panose="02040602050305030304" pitchFamily="18" charset="0"/>
                        </a:rPr>
                        <a:t>patient experience scores in the areas of Care Coordination, Provider Communication, and Provider Rat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latin typeface="Book Antiqua" panose="02040602050305030304" pitchFamily="18" charset="0"/>
                        </a:rPr>
                        <a:t>B.1</a:t>
                      </a:r>
                      <a:r>
                        <a:rPr lang="en-US" sz="1200" b="0" u="none" strike="noStrike">
                          <a:effectLst/>
                          <a:latin typeface="Book Antiqua" panose="02040602050305030304" pitchFamily="18" charset="0"/>
                        </a:rPr>
                        <a:t> MGH, Annual Report on Equity in Health Care Quality (AREHQ) 2018-2019</a:t>
                      </a:r>
                      <a:endParaRPr lang="en-US" sz="1200" b="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a:latin typeface="Book Antiqua" panose="02040602050305030304" pitchFamily="18" charset="0"/>
                        </a:rPr>
                        <a:t>Dual eligible beneficiaries with a </a:t>
                      </a:r>
                      <a:r>
                        <a:rPr lang="en-US" sz="1800" b="1">
                          <a:latin typeface="Book Antiqua" panose="02040602050305030304" pitchFamily="18" charset="0"/>
                        </a:rPr>
                        <a:t>disability were more likely </a:t>
                      </a:r>
                      <a:r>
                        <a:rPr lang="en-US" sz="1800" b="0">
                          <a:latin typeface="Book Antiqua" panose="02040602050305030304" pitchFamily="18" charset="0"/>
                        </a:rPr>
                        <a:t>to report being unable to get needed health care compared to beneficiaries without a disability (14% versus 1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Book Antiqua" panose="02040602050305030304" pitchFamily="18" charset="0"/>
                        </a:rPr>
                        <a:t>H. Disparities by Disability Status Literature Search https://www.cms.gov/About-CMS/Agency-Information/OMH/Downloads/Data-Highlight_How-Does-Disability-Affect-Access-to-Health-Care-for-Dual-Eligible-Beneficiaries.pdf </a:t>
                      </a:r>
                    </a:p>
                    <a:p>
                      <a:endParaRPr lang="en-US">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Tree>
    <p:extLst>
      <p:ext uri="{BB962C8B-B14F-4D97-AF65-F5344CB8AC3E}">
        <p14:creationId xmlns:p14="http://schemas.microsoft.com/office/powerpoint/2010/main" val="1714805313"/>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8A3BD-D56F-4DEB-9EC3-1EA9574DA73F}"/>
              </a:ext>
            </a:extLst>
          </p:cNvPr>
          <p:cNvSpPr>
            <a:spLocks noGrp="1"/>
          </p:cNvSpPr>
          <p:nvPr>
            <p:ph type="title"/>
          </p:nvPr>
        </p:nvSpPr>
        <p:spPr>
          <a:xfrm>
            <a:off x="736600" y="109538"/>
            <a:ext cx="6740832" cy="762000"/>
          </a:xfrm>
        </p:spPr>
        <p:txBody>
          <a:bodyPr/>
          <a:lstStyle/>
          <a:p>
            <a:r>
              <a:rPr lang="en-US"/>
              <a:t>Comprehensive Diabetes Care: Hemoglobin A1c (HbA1c) Poor Control (&gt;9.0%) (Core)</a:t>
            </a:r>
          </a:p>
        </p:txBody>
      </p:sp>
      <p:sp>
        <p:nvSpPr>
          <p:cNvPr id="3" name="Content Placeholder 2">
            <a:extLst>
              <a:ext uri="{FF2B5EF4-FFF2-40B4-BE49-F238E27FC236}">
                <a16:creationId xmlns:a16="http://schemas.microsoft.com/office/drawing/2014/main" id="{7E370310-B488-4FF4-BF5D-E8CC64C193E7}"/>
              </a:ext>
            </a:extLst>
          </p:cNvPr>
          <p:cNvSpPr>
            <a:spLocks noGrp="1"/>
          </p:cNvSpPr>
          <p:nvPr>
            <p:ph sz="half" idx="1"/>
          </p:nvPr>
        </p:nvSpPr>
        <p:spPr>
          <a:xfrm>
            <a:off x="268957" y="1019744"/>
            <a:ext cx="8822322" cy="295336"/>
          </a:xfrm>
        </p:spPr>
        <p:txBody>
          <a:bodyPr/>
          <a:lstStyle/>
          <a:p>
            <a:pPr>
              <a:spcAft>
                <a:spcPts val="0"/>
              </a:spcAft>
            </a:pPr>
            <a:r>
              <a:rPr lang="en-US" sz="1800" b="0"/>
              <a:t>NQF has identified this to be a “disparities-sensitive measure.”</a:t>
            </a:r>
          </a:p>
        </p:txBody>
      </p:sp>
      <p:graphicFrame>
        <p:nvGraphicFramePr>
          <p:cNvPr id="4" name="Table 5">
            <a:extLst>
              <a:ext uri="{FF2B5EF4-FFF2-40B4-BE49-F238E27FC236}">
                <a16:creationId xmlns:a16="http://schemas.microsoft.com/office/drawing/2014/main" id="{616908FC-206A-45E1-A5F8-62E2204ACA15}"/>
              </a:ext>
            </a:extLst>
          </p:cNvPr>
          <p:cNvGraphicFramePr>
            <a:graphicFrameLocks noGrp="1"/>
          </p:cNvGraphicFramePr>
          <p:nvPr>
            <p:extLst>
              <p:ext uri="{D42A27DB-BD31-4B8C-83A1-F6EECF244321}">
                <p14:modId xmlns:p14="http://schemas.microsoft.com/office/powerpoint/2010/main" val="4024098010"/>
              </p:ext>
            </p:extLst>
          </p:nvPr>
        </p:nvGraphicFramePr>
        <p:xfrm>
          <a:off x="268957" y="4938167"/>
          <a:ext cx="8813798" cy="1432560"/>
        </p:xfrm>
        <a:graphic>
          <a:graphicData uri="http://schemas.openxmlformats.org/drawingml/2006/table">
            <a:tbl>
              <a:tblPr firstRow="1" bandRow="1">
                <a:tableStyleId>{5C22544A-7EE6-4342-B048-85BDC9FD1C3A}</a:tableStyleId>
              </a:tblPr>
              <a:tblGrid>
                <a:gridCol w="2460538">
                  <a:extLst>
                    <a:ext uri="{9D8B030D-6E8A-4147-A177-3AD203B41FA5}">
                      <a16:colId xmlns:a16="http://schemas.microsoft.com/office/drawing/2014/main" val="2190465858"/>
                    </a:ext>
                  </a:extLst>
                </a:gridCol>
                <a:gridCol w="3415328">
                  <a:extLst>
                    <a:ext uri="{9D8B030D-6E8A-4147-A177-3AD203B41FA5}">
                      <a16:colId xmlns:a16="http://schemas.microsoft.com/office/drawing/2014/main" val="440397245"/>
                    </a:ext>
                  </a:extLst>
                </a:gridCol>
                <a:gridCol w="2937932">
                  <a:extLst>
                    <a:ext uri="{9D8B030D-6E8A-4147-A177-3AD203B41FA5}">
                      <a16:colId xmlns:a16="http://schemas.microsoft.com/office/drawing/2014/main" val="3053032867"/>
                    </a:ext>
                  </a:extLst>
                </a:gridCol>
              </a:tblGrid>
              <a:tr h="370840">
                <a:tc>
                  <a:txBody>
                    <a:bodyPr/>
                    <a:lstStyle/>
                    <a:p>
                      <a:pPr algn="ctr"/>
                      <a:r>
                        <a:rPr lang="en-US">
                          <a:latin typeface="Book Antiqua" panose="02040602050305030304" pitchFamily="18" charset="0"/>
                        </a:rPr>
                        <a:t>Set/Specification Chang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370840">
                <a:tc>
                  <a:txBody>
                    <a:bodyPr/>
                    <a:lstStyle/>
                    <a:p>
                      <a:pPr algn="ctr"/>
                      <a:r>
                        <a:rPr lang="en-US">
                          <a:latin typeface="Book Antiqua" panose="02040602050305030304" pitchFamily="18" charset="0"/>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a:latin typeface="Book Antiqua" panose="02040602050305030304" pitchFamily="18" charset="0"/>
                        </a:rPr>
                        <a:t>22.3</a:t>
                      </a:r>
                    </a:p>
                    <a:p>
                      <a:pPr algn="ctr"/>
                      <a:r>
                        <a:rPr lang="en-US" sz="1400">
                          <a:latin typeface="Book Antiqua" panose="02040602050305030304" pitchFamily="18" charset="0"/>
                        </a:rPr>
                        <a:t>Performance has declined since 2016 by 1.2 percentage p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a:latin typeface="Book Antiqua" panose="02040602050305030304" pitchFamily="18" charset="0"/>
                        </a:rPr>
                        <a:t>35.8</a:t>
                      </a:r>
                    </a:p>
                    <a:p>
                      <a:pPr algn="ctr"/>
                      <a:r>
                        <a:rPr lang="en-US" sz="1400">
                          <a:latin typeface="Book Antiqua" panose="02040602050305030304" pitchFamily="18" charset="0"/>
                        </a:rPr>
                        <a:t>Performance has declined since 2016 by 3.5 percentage p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2835101418"/>
                  </a:ext>
                </a:extLst>
              </a:tr>
            </a:tbl>
          </a:graphicData>
        </a:graphic>
      </p:graphicFrame>
      <p:graphicFrame>
        <p:nvGraphicFramePr>
          <p:cNvPr id="8" name="Table 6">
            <a:extLst>
              <a:ext uri="{FF2B5EF4-FFF2-40B4-BE49-F238E27FC236}">
                <a16:creationId xmlns:a16="http://schemas.microsoft.com/office/drawing/2014/main" id="{3A6FF290-E8BB-44D9-AF19-8BEBDF545217}"/>
              </a:ext>
            </a:extLst>
          </p:cNvPr>
          <p:cNvGraphicFramePr>
            <a:graphicFrameLocks noGrp="1"/>
          </p:cNvGraphicFramePr>
          <p:nvPr>
            <p:extLst>
              <p:ext uri="{D42A27DB-BD31-4B8C-83A1-F6EECF244321}">
                <p14:modId xmlns:p14="http://schemas.microsoft.com/office/powerpoint/2010/main" val="2357942665"/>
              </p:ext>
            </p:extLst>
          </p:nvPr>
        </p:nvGraphicFramePr>
        <p:xfrm>
          <a:off x="268957" y="1453720"/>
          <a:ext cx="8813797" cy="3414371"/>
        </p:xfrm>
        <a:graphic>
          <a:graphicData uri="http://schemas.openxmlformats.org/drawingml/2006/table">
            <a:tbl>
              <a:tblPr firstRow="1" bandRow="1">
                <a:tableStyleId>{5C22544A-7EE6-4342-B048-85BDC9FD1C3A}</a:tableStyleId>
              </a:tblPr>
              <a:tblGrid>
                <a:gridCol w="5105988">
                  <a:extLst>
                    <a:ext uri="{9D8B030D-6E8A-4147-A177-3AD203B41FA5}">
                      <a16:colId xmlns:a16="http://schemas.microsoft.com/office/drawing/2014/main" val="3167798883"/>
                    </a:ext>
                  </a:extLst>
                </a:gridCol>
                <a:gridCol w="3707809">
                  <a:extLst>
                    <a:ext uri="{9D8B030D-6E8A-4147-A177-3AD203B41FA5}">
                      <a16:colId xmlns:a16="http://schemas.microsoft.com/office/drawing/2014/main" val="3802407949"/>
                    </a:ext>
                  </a:extLst>
                </a:gridCol>
              </a:tblGrid>
              <a:tr h="390490">
                <a:tc>
                  <a:txBody>
                    <a:bodyPr/>
                    <a:lstStyle/>
                    <a:p>
                      <a:r>
                        <a:rPr lang="en-US">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3023881">
                <a:tc>
                  <a:txBody>
                    <a:bodyPr/>
                    <a:lstStyle/>
                    <a:p>
                      <a:pPr marL="285750" indent="-285750">
                        <a:buFont typeface="Arial" panose="020B0604020202020204" pitchFamily="34" charset="0"/>
                        <a:buChar char="•"/>
                      </a:pPr>
                      <a:r>
                        <a:rPr lang="en-US" sz="1800" b="0" u="none" strike="noStrike">
                          <a:effectLst/>
                          <a:latin typeface="Book Antiqua" panose="02040602050305030304" pitchFamily="18" charset="0"/>
                        </a:rPr>
                        <a:t>UMass performance showed </a:t>
                      </a:r>
                      <a:r>
                        <a:rPr lang="en-US" sz="1800" b="1" u="none" strike="noStrike">
                          <a:effectLst/>
                          <a:latin typeface="Book Antiqua" panose="02040602050305030304" pitchFamily="18" charset="0"/>
                        </a:rPr>
                        <a:t>highest control for Asians </a:t>
                      </a:r>
                      <a:r>
                        <a:rPr lang="en-US" sz="1800" b="0" u="none" strike="noStrike">
                          <a:effectLst/>
                          <a:latin typeface="Book Antiqua" panose="02040602050305030304" pitchFamily="18" charset="0"/>
                        </a:rPr>
                        <a:t>(75%) and </a:t>
                      </a:r>
                      <a:r>
                        <a:rPr lang="en-US" sz="1800" b="1" u="none" strike="noStrike">
                          <a:effectLst/>
                          <a:latin typeface="Book Antiqua" panose="02040602050305030304" pitchFamily="18" charset="0"/>
                        </a:rPr>
                        <a:t>lowest for Blacks or African Americans </a:t>
                      </a:r>
                      <a:r>
                        <a:rPr lang="en-US" sz="1800" b="0" u="none" strike="noStrike">
                          <a:effectLst/>
                          <a:latin typeface="Book Antiqua" panose="02040602050305030304" pitchFamily="18" charset="0"/>
                        </a:rPr>
                        <a:t>(65%)</a:t>
                      </a:r>
                    </a:p>
                    <a:p>
                      <a:pPr marL="285750" indent="-285750">
                        <a:buFont typeface="Arial" panose="020B0604020202020204" pitchFamily="34" charset="0"/>
                        <a:buChar char="•"/>
                      </a:pPr>
                      <a:r>
                        <a:rPr lang="en-US" sz="1800" b="0" u="none" strike="noStrike">
                          <a:effectLst/>
                          <a:latin typeface="Book Antiqua" panose="02040602050305030304" pitchFamily="18" charset="0"/>
                        </a:rPr>
                        <a:t>Prevalence of diabetes 77% </a:t>
                      </a:r>
                      <a:r>
                        <a:rPr lang="en-US" sz="1800" b="1" u="none" strike="noStrike">
                          <a:effectLst/>
                          <a:latin typeface="Book Antiqua" panose="02040602050305030304" pitchFamily="18" charset="0"/>
                        </a:rPr>
                        <a:t>higher among Blacks</a:t>
                      </a:r>
                      <a:r>
                        <a:rPr lang="en-US" sz="1800" b="0" u="none" strike="noStrike">
                          <a:effectLst/>
                          <a:latin typeface="Book Antiqua" panose="02040602050305030304" pitchFamily="18" charset="0"/>
                        </a:rPr>
                        <a:t> and 66% </a:t>
                      </a:r>
                      <a:r>
                        <a:rPr lang="en-US" sz="1800" b="1" u="none" strike="noStrike">
                          <a:effectLst/>
                          <a:latin typeface="Book Antiqua" panose="02040602050305030304" pitchFamily="18" charset="0"/>
                        </a:rPr>
                        <a:t>higher among Hispanics </a:t>
                      </a:r>
                      <a:r>
                        <a:rPr lang="en-US" sz="1800" b="0" u="none" strike="noStrike">
                          <a:effectLst/>
                          <a:latin typeface="Book Antiqua" panose="02040602050305030304" pitchFamily="18" charset="0"/>
                        </a:rPr>
                        <a:t>than Whites.</a:t>
                      </a:r>
                    </a:p>
                    <a:p>
                      <a:pPr marL="0" indent="0">
                        <a:buFont typeface="Arial" panose="020B0604020202020204" pitchFamily="34" charset="0"/>
                        <a:buNone/>
                      </a:pPr>
                      <a:r>
                        <a:rPr lang="en-US" sz="1200" b="0" u="none" strike="noStrike">
                          <a:effectLst/>
                          <a:latin typeface="Book Antiqua" panose="02040602050305030304" pitchFamily="18" charset="0"/>
                        </a:rPr>
                        <a:t>B3. UMass Memorial Ambulatory Health Equity Quality Dashboard. 12/21/20.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latin typeface="Book Antiqua" panose="02040602050305030304" pitchFamily="18" charset="0"/>
                        </a:rPr>
                        <a:t>A. DPH Literature Review on Quality Measure Performance Disparities, Piccolo, Rebecca et al. (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latin typeface="Book Antiqua" panose="02040602050305030304" pitchFamily="18" charset="0"/>
                        </a:rPr>
                        <a:t>Diabetes: Age-Adjusted Prevalence Rates (per 1000): No disability group (3.7%); </a:t>
                      </a:r>
                      <a:r>
                        <a:rPr lang="en-US" b="1">
                          <a:latin typeface="Book Antiqua" panose="02040602050305030304" pitchFamily="18" charset="0"/>
                        </a:rPr>
                        <a:t>Cognitive limitations group (18%); Physical disability group (15%).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Book Antiqua" panose="02040602050305030304" pitchFamily="18" charset="0"/>
                        </a:rPr>
                        <a:t>H. Disparities by Disability Status Literature Search https://pubmed.ncbi.nlm.nih.gov/2141936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Tree>
    <p:extLst>
      <p:ext uri="{BB962C8B-B14F-4D97-AF65-F5344CB8AC3E}">
        <p14:creationId xmlns:p14="http://schemas.microsoft.com/office/powerpoint/2010/main" val="320089514"/>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48D323-8775-4874-AD26-96460057E3D7}"/>
              </a:ext>
            </a:extLst>
          </p:cNvPr>
          <p:cNvSpPr>
            <a:spLocks noGrp="1"/>
          </p:cNvSpPr>
          <p:nvPr>
            <p:ph type="title"/>
          </p:nvPr>
        </p:nvSpPr>
        <p:spPr/>
        <p:txBody>
          <a:bodyPr/>
          <a:lstStyle/>
          <a:p>
            <a:r>
              <a:rPr lang="en-US"/>
              <a:t>Controlling High Blood Pressure (Core)</a:t>
            </a:r>
          </a:p>
        </p:txBody>
      </p:sp>
      <p:graphicFrame>
        <p:nvGraphicFramePr>
          <p:cNvPr id="4" name="Table 5">
            <a:extLst>
              <a:ext uri="{FF2B5EF4-FFF2-40B4-BE49-F238E27FC236}">
                <a16:creationId xmlns:a16="http://schemas.microsoft.com/office/drawing/2014/main" id="{A07F81A8-3F21-4AF1-BE99-52434C3FE90E}"/>
              </a:ext>
            </a:extLst>
          </p:cNvPr>
          <p:cNvGraphicFramePr>
            <a:graphicFrameLocks noGrp="1"/>
          </p:cNvGraphicFramePr>
          <p:nvPr>
            <p:extLst>
              <p:ext uri="{D42A27DB-BD31-4B8C-83A1-F6EECF244321}">
                <p14:modId xmlns:p14="http://schemas.microsoft.com/office/powerpoint/2010/main" val="382331770"/>
              </p:ext>
            </p:extLst>
          </p:nvPr>
        </p:nvGraphicFramePr>
        <p:xfrm>
          <a:off x="272796" y="5267431"/>
          <a:ext cx="8757825" cy="1371600"/>
        </p:xfrm>
        <a:graphic>
          <a:graphicData uri="http://schemas.openxmlformats.org/drawingml/2006/table">
            <a:tbl>
              <a:tblPr firstRow="1" bandRow="1">
                <a:tableStyleId>{5C22544A-7EE6-4342-B048-85BDC9FD1C3A}</a:tableStyleId>
              </a:tblPr>
              <a:tblGrid>
                <a:gridCol w="2255721">
                  <a:extLst>
                    <a:ext uri="{9D8B030D-6E8A-4147-A177-3AD203B41FA5}">
                      <a16:colId xmlns:a16="http://schemas.microsoft.com/office/drawing/2014/main" val="2190465858"/>
                    </a:ext>
                  </a:extLst>
                </a:gridCol>
                <a:gridCol w="3582829">
                  <a:extLst>
                    <a:ext uri="{9D8B030D-6E8A-4147-A177-3AD203B41FA5}">
                      <a16:colId xmlns:a16="http://schemas.microsoft.com/office/drawing/2014/main" val="440397245"/>
                    </a:ext>
                  </a:extLst>
                </a:gridCol>
                <a:gridCol w="2919275">
                  <a:extLst>
                    <a:ext uri="{9D8B030D-6E8A-4147-A177-3AD203B41FA5}">
                      <a16:colId xmlns:a16="http://schemas.microsoft.com/office/drawing/2014/main" val="3053032867"/>
                    </a:ext>
                  </a:extLst>
                </a:gridCol>
              </a:tblGrid>
              <a:tr h="442565">
                <a:tc>
                  <a:txBody>
                    <a:bodyPr/>
                    <a:lstStyle/>
                    <a:p>
                      <a:pPr algn="ctr"/>
                      <a:r>
                        <a:rPr lang="en-US" sz="1600">
                          <a:latin typeface="Book Antiqua" panose="02040602050305030304" pitchFamily="18" charset="0"/>
                        </a:rPr>
                        <a:t>Set/Specification Chang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sz="1600">
                          <a:latin typeface="Book Antiqua" panose="02040602050305030304" pitchFamily="18" charset="0"/>
                        </a:rPr>
                        <a:t>Commercial Perform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sz="1600">
                          <a:latin typeface="Book Antiqua" panose="02040602050305030304" pitchFamily="18" charset="0"/>
                        </a:rPr>
                        <a:t>MassHealth Perform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605615">
                <a:tc>
                  <a:txBody>
                    <a:bodyPr/>
                    <a:lstStyle/>
                    <a:p>
                      <a:pPr algn="ctr"/>
                      <a:r>
                        <a:rPr lang="en-US">
                          <a:latin typeface="Book Antiqua" panose="02040602050305030304" pitchFamily="18" charset="0"/>
                        </a:rPr>
                        <a:t>N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a:latin typeface="Book Antiqua" panose="02040602050305030304" pitchFamily="18" charset="0"/>
                        </a:rPr>
                        <a:t>74.3</a:t>
                      </a:r>
                    </a:p>
                    <a:p>
                      <a:pPr algn="ctr"/>
                      <a:r>
                        <a:rPr lang="en-US" sz="1400">
                          <a:latin typeface="Book Antiqua" panose="02040602050305030304" pitchFamily="18" charset="0"/>
                        </a:rPr>
                        <a:t>Performance remained the same 2018-20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a:latin typeface="Book Antiqua" panose="02040602050305030304" pitchFamily="18" charset="0"/>
                        </a:rPr>
                        <a:t>68.4</a:t>
                      </a:r>
                    </a:p>
                    <a:p>
                      <a:pPr algn="ctr"/>
                      <a:r>
                        <a:rPr lang="en-US" sz="1400">
                          <a:latin typeface="Book Antiqua" panose="02040602050305030304" pitchFamily="18" charset="0"/>
                        </a:rPr>
                        <a:t>Performance improved 1.7 percentage points since 20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2835101418"/>
                  </a:ext>
                </a:extLst>
              </a:tr>
            </a:tbl>
          </a:graphicData>
        </a:graphic>
      </p:graphicFrame>
      <p:sp>
        <p:nvSpPr>
          <p:cNvPr id="7" name="Content Placeholder 2">
            <a:extLst>
              <a:ext uri="{FF2B5EF4-FFF2-40B4-BE49-F238E27FC236}">
                <a16:creationId xmlns:a16="http://schemas.microsoft.com/office/drawing/2014/main" id="{AA7FC5F5-FEBB-4BE3-960C-DD2403AF5409}"/>
              </a:ext>
            </a:extLst>
          </p:cNvPr>
          <p:cNvSpPr txBox="1">
            <a:spLocks/>
          </p:cNvSpPr>
          <p:nvPr/>
        </p:nvSpPr>
        <p:spPr bwMode="auto">
          <a:xfrm>
            <a:off x="272796" y="999534"/>
            <a:ext cx="8536416" cy="441781"/>
          </a:xfrm>
          <a:prstGeom prst="rect">
            <a:avLst/>
          </a:prstGeom>
          <a:noFill/>
          <a:ln w="6350" cmpd="sng">
            <a:noFill/>
            <a:miter lim="800000"/>
            <a:headEnd/>
            <a:tailEnd/>
          </a:ln>
        </p:spPr>
        <p:txBody>
          <a:bodyPr vert="horz" wrap="square" lIns="45720" tIns="46038" rIns="45720" bIns="46038" numCol="1" anchor="t" anchorCtr="0" compatLnSpc="1">
            <a:prstTxWarp prst="textNoShape">
              <a:avLst/>
            </a:prstTxWarp>
          </a:bodyPr>
          <a:lstStyle>
            <a:lvl1pPr marL="381000" indent="-381000" algn="l" rtl="0" eaLnBrk="1" fontAlgn="base" hangingPunct="1">
              <a:spcBef>
                <a:spcPct val="0"/>
              </a:spcBef>
              <a:spcAft>
                <a:spcPts val="1200"/>
              </a:spcAft>
              <a:buClrTx/>
              <a:buSzPct val="100000"/>
              <a:buFont typeface="Wingdings" pitchFamily="2" charset="2"/>
              <a:buChar char="n"/>
              <a:defRPr sz="2000" b="1">
                <a:solidFill>
                  <a:schemeClr val="tx1"/>
                </a:solidFill>
                <a:latin typeface="Book Antiqua" pitchFamily="18" charset="0"/>
                <a:ea typeface="Calibri" pitchFamily="34" charset="0"/>
                <a:cs typeface="Calibri" pitchFamily="34" charset="0"/>
              </a:defRPr>
            </a:lvl1pPr>
            <a:lvl2pPr marL="568325" indent="-222250" algn="l" rtl="0" eaLnBrk="1" fontAlgn="base" hangingPunct="1">
              <a:spcBef>
                <a:spcPct val="0"/>
              </a:spcBef>
              <a:spcAft>
                <a:spcPts val="1200"/>
              </a:spcAft>
              <a:buClrTx/>
              <a:buSzPct val="100000"/>
              <a:buFont typeface="Arial" pitchFamily="34" charset="0"/>
              <a:buChar char="•"/>
              <a:defRPr sz="2000" b="1">
                <a:solidFill>
                  <a:schemeClr val="tx1"/>
                </a:solidFill>
                <a:latin typeface="Book Antiqua" pitchFamily="18"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None/>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a:lstStyle>
          <a:p>
            <a:pPr>
              <a:spcAft>
                <a:spcPts val="0"/>
              </a:spcAft>
            </a:pPr>
            <a:r>
              <a:rPr lang="en-US" sz="1800" b="0" kern="0"/>
              <a:t>NQF has identified this to be a “disparities-sensitive measure.”</a:t>
            </a:r>
          </a:p>
          <a:p>
            <a:pPr marL="346075" lvl="1" indent="0">
              <a:buNone/>
            </a:pPr>
            <a:endParaRPr lang="en-US" sz="1800" kern="0"/>
          </a:p>
        </p:txBody>
      </p:sp>
      <p:graphicFrame>
        <p:nvGraphicFramePr>
          <p:cNvPr id="6" name="Table 6">
            <a:extLst>
              <a:ext uri="{FF2B5EF4-FFF2-40B4-BE49-F238E27FC236}">
                <a16:creationId xmlns:a16="http://schemas.microsoft.com/office/drawing/2014/main" id="{3841D5C1-C544-49BB-A64D-7CDBFF990E5E}"/>
              </a:ext>
            </a:extLst>
          </p:cNvPr>
          <p:cNvGraphicFramePr>
            <a:graphicFrameLocks noGrp="1"/>
          </p:cNvGraphicFramePr>
          <p:nvPr>
            <p:extLst>
              <p:ext uri="{D42A27DB-BD31-4B8C-83A1-F6EECF244321}">
                <p14:modId xmlns:p14="http://schemas.microsoft.com/office/powerpoint/2010/main" val="3223674148"/>
              </p:ext>
            </p:extLst>
          </p:nvPr>
        </p:nvGraphicFramePr>
        <p:xfrm>
          <a:off x="272795" y="1424102"/>
          <a:ext cx="8757825" cy="3681958"/>
        </p:xfrm>
        <a:graphic>
          <a:graphicData uri="http://schemas.openxmlformats.org/drawingml/2006/table">
            <a:tbl>
              <a:tblPr firstRow="1" bandRow="1">
                <a:tableStyleId>{5C22544A-7EE6-4342-B048-85BDC9FD1C3A}</a:tableStyleId>
              </a:tblPr>
              <a:tblGrid>
                <a:gridCol w="4289679">
                  <a:extLst>
                    <a:ext uri="{9D8B030D-6E8A-4147-A177-3AD203B41FA5}">
                      <a16:colId xmlns:a16="http://schemas.microsoft.com/office/drawing/2014/main" val="3167798883"/>
                    </a:ext>
                  </a:extLst>
                </a:gridCol>
                <a:gridCol w="4468146">
                  <a:extLst>
                    <a:ext uri="{9D8B030D-6E8A-4147-A177-3AD203B41FA5}">
                      <a16:colId xmlns:a16="http://schemas.microsoft.com/office/drawing/2014/main" val="3802407949"/>
                    </a:ext>
                  </a:extLst>
                </a:gridCol>
              </a:tblGrid>
              <a:tr h="377637">
                <a:tc>
                  <a:txBody>
                    <a:bodyPr/>
                    <a:lstStyle/>
                    <a:p>
                      <a:r>
                        <a:rPr lang="en-US">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3304321">
                <a:tc>
                  <a:txBody>
                    <a:bodyPr/>
                    <a:lstStyle/>
                    <a:p>
                      <a:pPr marL="173736" indent="-173736">
                        <a:buFont typeface="Arial" panose="020B0604020202020204" pitchFamily="34" charset="0"/>
                        <a:buChar char="•"/>
                      </a:pPr>
                      <a:r>
                        <a:rPr lang="en-US" sz="1800" b="0" u="none" strike="noStrike">
                          <a:effectLst/>
                          <a:latin typeface="Book Antiqua" panose="02040602050305030304" pitchFamily="18" charset="0"/>
                        </a:rPr>
                        <a:t>C3 performance showed </a:t>
                      </a:r>
                      <a:r>
                        <a:rPr lang="en-US" sz="1800" b="1" u="none" strike="noStrike">
                          <a:effectLst/>
                          <a:latin typeface="Book Antiqua" panose="02040602050305030304" pitchFamily="18" charset="0"/>
                        </a:rPr>
                        <a:t>lower levels of BP control among Black or African American patients </a:t>
                      </a:r>
                      <a:r>
                        <a:rPr lang="en-US" sz="1800" b="0" u="none" strike="noStrike">
                          <a:effectLst/>
                          <a:latin typeface="Book Antiqua" panose="02040602050305030304" pitchFamily="18" charset="0"/>
                        </a:rPr>
                        <a:t>(45%) than White (50%). </a:t>
                      </a:r>
                    </a:p>
                    <a:p>
                      <a:pPr marL="173736" indent="-173736">
                        <a:buFont typeface="Arial" panose="020B0604020202020204" pitchFamily="34" charset="0"/>
                        <a:buChar char="•"/>
                      </a:pPr>
                      <a:r>
                        <a:rPr lang="en-US" sz="1800" b="0" u="none" strike="noStrike">
                          <a:effectLst/>
                          <a:latin typeface="Book Antiqua" panose="02040602050305030304" pitchFamily="18" charset="0"/>
                        </a:rPr>
                        <a:t>CA and MN Medicaid programs also reported </a:t>
                      </a:r>
                      <a:r>
                        <a:rPr lang="en-US" sz="1800" b="1" u="none" strike="noStrike">
                          <a:effectLst/>
                          <a:latin typeface="Book Antiqua" panose="02040602050305030304" pitchFamily="18" charset="0"/>
                        </a:rPr>
                        <a:t>Black patients faring worse </a:t>
                      </a:r>
                      <a:r>
                        <a:rPr lang="en-US" sz="1800" b="0" u="none" strike="noStrike">
                          <a:effectLst/>
                          <a:latin typeface="Book Antiqua" panose="02040602050305030304" pitchFamily="18" charset="0"/>
                        </a:rPr>
                        <a:t>on control of high blood pressure.</a:t>
                      </a:r>
                    </a:p>
                    <a:p>
                      <a:pPr marL="0" indent="0">
                        <a:buFont typeface="Arial" panose="020B0604020202020204" pitchFamily="34" charset="0"/>
                        <a:buNone/>
                      </a:pPr>
                      <a:r>
                        <a:rPr lang="en-US" sz="1200" b="0" u="none" strike="noStrike">
                          <a:effectLst/>
                          <a:latin typeface="Book Antiqua" panose="02040602050305030304" pitchFamily="18" charset="0"/>
                        </a:rPr>
                        <a:t>B2. Community Care Cooperative Race, Ethnicity and Language Data January 2021</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latin typeface="Book Antiqua" panose="02040602050305030304" pitchFamily="18" charset="0"/>
                        </a:rPr>
                        <a:t>D. State Disparities Resear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a:latin typeface="Book Antiqua" panose="02040602050305030304" pitchFamily="18" charset="0"/>
                        </a:rPr>
                        <a:t>Compared to adults without disability, </a:t>
                      </a:r>
                      <a:r>
                        <a:rPr lang="en-US" sz="1800" b="1">
                          <a:latin typeface="Book Antiqua" panose="02040602050305030304" pitchFamily="18" charset="0"/>
                        </a:rPr>
                        <a:t>those with physical disabilities and those with cognitive limitations experienced more high blood pressure</a:t>
                      </a:r>
                      <a:r>
                        <a:rPr lang="en-US" sz="1800" b="0">
                          <a:latin typeface="Book Antiqua" panose="02040602050305030304" pitchFamily="18" charset="0"/>
                        </a:rPr>
                        <a:t>. High Blood Pressure: Age-Adjusted Prevalence Rates (per 1000) : No disability group (16.1%); Cognitive limitations group (27.5%); Physical disability group (67.3%).</a:t>
                      </a:r>
                      <a:endParaRPr lang="en-US" sz="1800">
                        <a:latin typeface="Book Antiqua" panose="02040602050305030304" pitchFamily="18" charset="0"/>
                      </a:endParaRPr>
                    </a:p>
                    <a:p>
                      <a:r>
                        <a:rPr lang="en-US" sz="1200">
                          <a:latin typeface="Book Antiqua" panose="02040602050305030304" pitchFamily="18" charset="0"/>
                        </a:rPr>
                        <a:t>H. Disparities by Disability Status Literature Search https://pubmed.ncbi.nlm.nih.gov/21419369/</a:t>
                      </a:r>
                      <a:endParaRPr lang="en-US" sz="1200" b="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Tree>
    <p:extLst>
      <p:ext uri="{BB962C8B-B14F-4D97-AF65-F5344CB8AC3E}">
        <p14:creationId xmlns:p14="http://schemas.microsoft.com/office/powerpoint/2010/main" val="3696934096"/>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7E8FC1-D2D6-43EB-8D44-124110B2CFBE}"/>
              </a:ext>
            </a:extLst>
          </p:cNvPr>
          <p:cNvSpPr>
            <a:spLocks noGrp="1"/>
          </p:cNvSpPr>
          <p:nvPr>
            <p:ph type="title"/>
          </p:nvPr>
        </p:nvSpPr>
        <p:spPr/>
        <p:txBody>
          <a:bodyPr/>
          <a:lstStyle/>
          <a:p>
            <a:r>
              <a:rPr lang="en-US"/>
              <a:t>Screening for Clinical Depression and Follow-Up Plan (Core)</a:t>
            </a:r>
          </a:p>
        </p:txBody>
      </p:sp>
      <p:graphicFrame>
        <p:nvGraphicFramePr>
          <p:cNvPr id="4" name="Table 5">
            <a:extLst>
              <a:ext uri="{FF2B5EF4-FFF2-40B4-BE49-F238E27FC236}">
                <a16:creationId xmlns:a16="http://schemas.microsoft.com/office/drawing/2014/main" id="{E95FDC7E-37CF-471F-8625-B1FDD8112C17}"/>
              </a:ext>
            </a:extLst>
          </p:cNvPr>
          <p:cNvGraphicFramePr>
            <a:graphicFrameLocks noGrp="1"/>
          </p:cNvGraphicFramePr>
          <p:nvPr>
            <p:extLst>
              <p:ext uri="{D42A27DB-BD31-4B8C-83A1-F6EECF244321}">
                <p14:modId xmlns:p14="http://schemas.microsoft.com/office/powerpoint/2010/main" val="1325274512"/>
              </p:ext>
            </p:extLst>
          </p:nvPr>
        </p:nvGraphicFramePr>
        <p:xfrm>
          <a:off x="325643" y="5809515"/>
          <a:ext cx="8704977" cy="741680"/>
        </p:xfrm>
        <a:graphic>
          <a:graphicData uri="http://schemas.openxmlformats.org/drawingml/2006/table">
            <a:tbl>
              <a:tblPr firstRow="1" bandRow="1">
                <a:tableStyleId>{5C22544A-7EE6-4342-B048-85BDC9FD1C3A}</a:tableStyleId>
              </a:tblPr>
              <a:tblGrid>
                <a:gridCol w="2901659">
                  <a:extLst>
                    <a:ext uri="{9D8B030D-6E8A-4147-A177-3AD203B41FA5}">
                      <a16:colId xmlns:a16="http://schemas.microsoft.com/office/drawing/2014/main" val="2190465858"/>
                    </a:ext>
                  </a:extLst>
                </a:gridCol>
                <a:gridCol w="2901659">
                  <a:extLst>
                    <a:ext uri="{9D8B030D-6E8A-4147-A177-3AD203B41FA5}">
                      <a16:colId xmlns:a16="http://schemas.microsoft.com/office/drawing/2014/main" val="440397245"/>
                    </a:ext>
                  </a:extLst>
                </a:gridCol>
                <a:gridCol w="2901659">
                  <a:extLst>
                    <a:ext uri="{9D8B030D-6E8A-4147-A177-3AD203B41FA5}">
                      <a16:colId xmlns:a16="http://schemas.microsoft.com/office/drawing/2014/main" val="3053032867"/>
                    </a:ext>
                  </a:extLst>
                </a:gridCol>
              </a:tblGrid>
              <a:tr h="370840">
                <a:tc>
                  <a:txBody>
                    <a:bodyPr/>
                    <a:lstStyle/>
                    <a:p>
                      <a:pPr algn="ctr"/>
                      <a:r>
                        <a:rPr lang="en-US" sz="1600">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sz="1600">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sz="1600">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370840">
                <a:tc>
                  <a:txBody>
                    <a:bodyPr/>
                    <a:lstStyle/>
                    <a:p>
                      <a:pPr algn="ctr"/>
                      <a:r>
                        <a:rPr lang="en-US" sz="16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latin typeface="Book Antiqua" panose="02040602050305030304" pitchFamily="18" charset="0"/>
                        </a:rPr>
                        <a:t>No d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a:latin typeface="Book Antiqua" panose="02040602050305030304" pitchFamily="18" charset="0"/>
                        </a:rPr>
                        <a:t>42.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35101418"/>
                  </a:ext>
                </a:extLst>
              </a:tr>
            </a:tbl>
          </a:graphicData>
        </a:graphic>
      </p:graphicFrame>
      <p:sp>
        <p:nvSpPr>
          <p:cNvPr id="6" name="TextBox 5">
            <a:extLst>
              <a:ext uri="{FF2B5EF4-FFF2-40B4-BE49-F238E27FC236}">
                <a16:creationId xmlns:a16="http://schemas.microsoft.com/office/drawing/2014/main" id="{ED32B722-701F-4172-B87F-43D9DCD0FC04}"/>
              </a:ext>
            </a:extLst>
          </p:cNvPr>
          <p:cNvSpPr txBox="1"/>
          <p:nvPr/>
        </p:nvSpPr>
        <p:spPr>
          <a:xfrm>
            <a:off x="257521" y="6550816"/>
            <a:ext cx="8799226" cy="338554"/>
          </a:xfrm>
          <a:prstGeom prst="rect">
            <a:avLst/>
          </a:prstGeom>
          <a:noFill/>
        </p:spPr>
        <p:txBody>
          <a:bodyPr wrap="square" rtlCol="0">
            <a:spAutoFit/>
          </a:bodyPr>
          <a:lstStyle/>
          <a:p>
            <a:r>
              <a:rPr lang="en-US" sz="800" baseline="30000"/>
              <a:t>1</a:t>
            </a:r>
            <a:r>
              <a:rPr lang="en-US" sz="800"/>
              <a:t>https://jamanetwork.com/journals/</a:t>
            </a:r>
            <a:r>
              <a:rPr lang="en-US" sz="800" err="1"/>
              <a:t>jamapediatrics</a:t>
            </a:r>
            <a:r>
              <a:rPr lang="en-US" sz="800"/>
              <a:t>/</a:t>
            </a:r>
            <a:r>
              <a:rPr lang="en-US" sz="800" err="1"/>
              <a:t>fullarticle</a:t>
            </a:r>
            <a:r>
              <a:rPr lang="en-US" sz="800"/>
              <a:t>/481451</a:t>
            </a:r>
          </a:p>
          <a:p>
            <a:r>
              <a:rPr lang="en-US" sz="800" baseline="30000"/>
              <a:t>2</a:t>
            </a:r>
            <a:r>
              <a:rPr lang="en-US" sz="800"/>
              <a:t>https://www.ncbi.nlm.nih.gov/pmc/articles/PMC4408551/</a:t>
            </a:r>
          </a:p>
        </p:txBody>
      </p:sp>
      <p:sp>
        <p:nvSpPr>
          <p:cNvPr id="7" name="Content Placeholder 2">
            <a:extLst>
              <a:ext uri="{FF2B5EF4-FFF2-40B4-BE49-F238E27FC236}">
                <a16:creationId xmlns:a16="http://schemas.microsoft.com/office/drawing/2014/main" id="{470E137D-0541-4AC6-9418-EA0F3D8802BA}"/>
              </a:ext>
            </a:extLst>
          </p:cNvPr>
          <p:cNvSpPr txBox="1">
            <a:spLocks/>
          </p:cNvSpPr>
          <p:nvPr/>
        </p:nvSpPr>
        <p:spPr bwMode="auto">
          <a:xfrm>
            <a:off x="272796" y="999534"/>
            <a:ext cx="8536416" cy="441781"/>
          </a:xfrm>
          <a:prstGeom prst="rect">
            <a:avLst/>
          </a:prstGeom>
          <a:noFill/>
          <a:ln w="6350" cmpd="sng">
            <a:noFill/>
            <a:miter lim="800000"/>
            <a:headEnd/>
            <a:tailEnd/>
          </a:ln>
        </p:spPr>
        <p:txBody>
          <a:bodyPr vert="horz" wrap="square" lIns="45720" tIns="46038" rIns="45720" bIns="46038" numCol="1" anchor="t" anchorCtr="0" compatLnSpc="1">
            <a:prstTxWarp prst="textNoShape">
              <a:avLst/>
            </a:prstTxWarp>
          </a:bodyPr>
          <a:lstStyle>
            <a:lvl1pPr marL="381000" indent="-381000" algn="l" rtl="0" eaLnBrk="1" fontAlgn="base" hangingPunct="1">
              <a:spcBef>
                <a:spcPct val="0"/>
              </a:spcBef>
              <a:spcAft>
                <a:spcPts val="1200"/>
              </a:spcAft>
              <a:buClrTx/>
              <a:buSzPct val="100000"/>
              <a:buFont typeface="Wingdings" pitchFamily="2" charset="2"/>
              <a:buChar char="n"/>
              <a:defRPr sz="2000" b="1">
                <a:solidFill>
                  <a:schemeClr val="tx1"/>
                </a:solidFill>
                <a:latin typeface="Book Antiqua" pitchFamily="18" charset="0"/>
                <a:ea typeface="Calibri" pitchFamily="34" charset="0"/>
                <a:cs typeface="Calibri" pitchFamily="34" charset="0"/>
              </a:defRPr>
            </a:lvl1pPr>
            <a:lvl2pPr marL="568325" indent="-222250" algn="l" rtl="0" eaLnBrk="1" fontAlgn="base" hangingPunct="1">
              <a:spcBef>
                <a:spcPct val="0"/>
              </a:spcBef>
              <a:spcAft>
                <a:spcPts val="1200"/>
              </a:spcAft>
              <a:buClrTx/>
              <a:buSzPct val="100000"/>
              <a:buFont typeface="Arial" pitchFamily="34" charset="0"/>
              <a:buChar char="•"/>
              <a:defRPr sz="2000" b="1">
                <a:solidFill>
                  <a:schemeClr val="tx1"/>
                </a:solidFill>
                <a:latin typeface="Book Antiqua" pitchFamily="18"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None/>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a:lstStyle>
          <a:p>
            <a:pPr>
              <a:spcAft>
                <a:spcPts val="0"/>
              </a:spcAft>
            </a:pPr>
            <a:r>
              <a:rPr lang="en-US" sz="1800" b="0" kern="0"/>
              <a:t>NQF has identified this to be a “disparities-sensitive measure.”</a:t>
            </a:r>
          </a:p>
          <a:p>
            <a:pPr marL="346075" lvl="1" indent="0">
              <a:buNone/>
            </a:pPr>
            <a:endParaRPr lang="en-US" sz="1800" kern="0"/>
          </a:p>
        </p:txBody>
      </p:sp>
      <p:graphicFrame>
        <p:nvGraphicFramePr>
          <p:cNvPr id="8" name="Table 6">
            <a:extLst>
              <a:ext uri="{FF2B5EF4-FFF2-40B4-BE49-F238E27FC236}">
                <a16:creationId xmlns:a16="http://schemas.microsoft.com/office/drawing/2014/main" id="{F1B896E5-96F3-4E80-BA33-7043A1B12744}"/>
              </a:ext>
            </a:extLst>
          </p:cNvPr>
          <p:cNvGraphicFramePr>
            <a:graphicFrameLocks noGrp="1"/>
          </p:cNvGraphicFramePr>
          <p:nvPr>
            <p:extLst>
              <p:ext uri="{D42A27DB-BD31-4B8C-83A1-F6EECF244321}">
                <p14:modId xmlns:p14="http://schemas.microsoft.com/office/powerpoint/2010/main" val="1375966160"/>
              </p:ext>
            </p:extLst>
          </p:nvPr>
        </p:nvGraphicFramePr>
        <p:xfrm>
          <a:off x="325643" y="1360304"/>
          <a:ext cx="8704977" cy="4328160"/>
        </p:xfrm>
        <a:graphic>
          <a:graphicData uri="http://schemas.openxmlformats.org/drawingml/2006/table">
            <a:tbl>
              <a:tblPr firstRow="1" bandRow="1">
                <a:tableStyleId>{5C22544A-7EE6-4342-B048-85BDC9FD1C3A}</a:tableStyleId>
              </a:tblPr>
              <a:tblGrid>
                <a:gridCol w="4583241">
                  <a:extLst>
                    <a:ext uri="{9D8B030D-6E8A-4147-A177-3AD203B41FA5}">
                      <a16:colId xmlns:a16="http://schemas.microsoft.com/office/drawing/2014/main" val="3167798883"/>
                    </a:ext>
                  </a:extLst>
                </a:gridCol>
                <a:gridCol w="1299411">
                  <a:extLst>
                    <a:ext uri="{9D8B030D-6E8A-4147-A177-3AD203B41FA5}">
                      <a16:colId xmlns:a16="http://schemas.microsoft.com/office/drawing/2014/main" val="1698608290"/>
                    </a:ext>
                  </a:extLst>
                </a:gridCol>
                <a:gridCol w="2822325">
                  <a:extLst>
                    <a:ext uri="{9D8B030D-6E8A-4147-A177-3AD203B41FA5}">
                      <a16:colId xmlns:a16="http://schemas.microsoft.com/office/drawing/2014/main" val="3802407949"/>
                    </a:ext>
                  </a:extLst>
                </a:gridCol>
              </a:tblGrid>
              <a:tr h="239896">
                <a:tc>
                  <a:txBody>
                    <a:bodyPr/>
                    <a:lstStyle/>
                    <a:p>
                      <a:r>
                        <a:rPr lang="en-US" sz="1700">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700">
                          <a:latin typeface="Book Antiqua" panose="02040602050305030304" pitchFamily="18" charset="0"/>
                        </a:rPr>
                        <a:t>Langu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7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3886416">
                <a:tc>
                  <a:txBody>
                    <a:bodyPr/>
                    <a:lstStyle/>
                    <a:p>
                      <a:pPr marL="171450" indent="-171450">
                        <a:buFont typeface="Arial" panose="020B0604020202020204" pitchFamily="34" charset="0"/>
                        <a:buChar char="•"/>
                      </a:pPr>
                      <a:r>
                        <a:rPr lang="en-US" sz="1700">
                          <a:latin typeface="Book Antiqua" panose="02040602050305030304" pitchFamily="18" charset="0"/>
                        </a:rPr>
                        <a:t>Medicaid-covered Latinx, Asian/Pacific Islander, and Black youth were</a:t>
                      </a:r>
                      <a:r>
                        <a:rPr lang="en-US" sz="1700" b="1">
                          <a:latin typeface="Book Antiqua" panose="02040602050305030304" pitchFamily="18" charset="0"/>
                        </a:rPr>
                        <a:t> less likely to have a depression diagnosis</a:t>
                      </a:r>
                      <a:r>
                        <a:rPr lang="en-US" sz="1700" b="0">
                          <a:latin typeface="Book Antiqua" panose="02040602050305030304" pitchFamily="18" charset="0"/>
                        </a:rPr>
                        <a:t> than white counterparts. After a new diagnosis, Native American and Latinx youth were </a:t>
                      </a:r>
                      <a:r>
                        <a:rPr lang="en-US" sz="1700" b="1">
                          <a:latin typeface="Book Antiqua" panose="02040602050305030304" pitchFamily="18" charset="0"/>
                        </a:rPr>
                        <a:t>less likely than white youth to have received an antidepressant or a mental health specialty visit.</a:t>
                      </a:r>
                      <a:r>
                        <a:rPr lang="en-US" sz="1700" b="0" baseline="30000">
                          <a:latin typeface="Book Antiqua" panose="02040602050305030304" pitchFamily="18" charset="0"/>
                        </a:rPr>
                        <a:t>1</a:t>
                      </a:r>
                    </a:p>
                    <a:p>
                      <a:pPr marL="171450" indent="-171450">
                        <a:buFont typeface="Arial" panose="020B0604020202020204" pitchFamily="34" charset="0"/>
                        <a:buChar char="•"/>
                      </a:pPr>
                      <a:r>
                        <a:rPr lang="en-US" sz="1700">
                          <a:latin typeface="Book Antiqua" panose="02040602050305030304" pitchFamily="18" charset="0"/>
                        </a:rPr>
                        <a:t>Black and Asian adults were </a:t>
                      </a:r>
                      <a:r>
                        <a:rPr lang="en-US" sz="1700" b="1">
                          <a:latin typeface="Book Antiqua" panose="02040602050305030304" pitchFamily="18" charset="0"/>
                        </a:rPr>
                        <a:t>less likely to be screened for depression </a:t>
                      </a:r>
                      <a:r>
                        <a:rPr lang="en-US" sz="1700" b="0">
                          <a:latin typeface="Book Antiqua" panose="02040602050305030304" pitchFamily="18" charset="0"/>
                        </a:rPr>
                        <a:t>than white adults. Latinx adults were </a:t>
                      </a:r>
                      <a:r>
                        <a:rPr lang="en-US" sz="1700" b="1">
                          <a:latin typeface="Book Antiqua" panose="02040602050305030304" pitchFamily="18" charset="0"/>
                        </a:rPr>
                        <a:t>more likely to be screened for depression</a:t>
                      </a:r>
                      <a:r>
                        <a:rPr lang="en-US" sz="1700" b="0">
                          <a:latin typeface="Book Antiqua" panose="02040602050305030304" pitchFamily="18" charset="0"/>
                        </a:rPr>
                        <a:t>. Post-screening, Black adults, Latino males, and Asian adults were less likely to receive mental health care than their white counterparts</a:t>
                      </a:r>
                      <a:r>
                        <a:rPr lang="en-US" sz="1700" b="0" baseline="30000">
                          <a:latin typeface="Book Antiqua" panose="02040602050305030304" pitchFamily="18" charset="0"/>
                        </a:rPr>
                        <a:t>2</a:t>
                      </a:r>
                      <a:endParaRPr lang="en-US" sz="1700" baseline="3000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700" b="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a:latin typeface="Book Antiqua" panose="02040602050305030304" pitchFamily="18" charset="0"/>
                        </a:rPr>
                        <a:t>The estimated prevalence of depression in adults with disability (24.9-41%) is higher than that of adults without disability (22.8-27.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a:latin typeface="Book Antiqua" panose="02040602050305030304" pitchFamily="18" charset="0"/>
                        </a:rPr>
                        <a:t>Individuals with physical disability reported more pain, depression, and anxiety and a lower quality of lif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latin typeface="Book Antiqua" panose="02040602050305030304" pitchFamily="18" charset="0"/>
                        </a:rPr>
                        <a:t>H. Disparities by Disability Status Literature Search https://pubmed.ncbi.nlm.nih.gov/28362849/</a:t>
                      </a:r>
                      <a:endParaRPr lang="en-US" sz="1200" b="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Tree>
    <p:extLst>
      <p:ext uri="{BB962C8B-B14F-4D97-AF65-F5344CB8AC3E}">
        <p14:creationId xmlns:p14="http://schemas.microsoft.com/office/powerpoint/2010/main" val="1420463798"/>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2B592-CE07-43D0-B1E7-2F7199319E98}"/>
              </a:ext>
            </a:extLst>
          </p:cNvPr>
          <p:cNvSpPr>
            <a:spLocks noGrp="1"/>
          </p:cNvSpPr>
          <p:nvPr>
            <p:ph type="title"/>
          </p:nvPr>
        </p:nvSpPr>
        <p:spPr/>
        <p:txBody>
          <a:bodyPr/>
          <a:lstStyle/>
          <a:p>
            <a:r>
              <a:rPr lang="en-US"/>
              <a:t>Asthma Medication Ratio (Menu)</a:t>
            </a:r>
          </a:p>
        </p:txBody>
      </p:sp>
      <p:graphicFrame>
        <p:nvGraphicFramePr>
          <p:cNvPr id="4" name="Table 5">
            <a:extLst>
              <a:ext uri="{FF2B5EF4-FFF2-40B4-BE49-F238E27FC236}">
                <a16:creationId xmlns:a16="http://schemas.microsoft.com/office/drawing/2014/main" id="{62CB3356-088B-4FB8-A215-26A60AEC27A0}"/>
              </a:ext>
            </a:extLst>
          </p:cNvPr>
          <p:cNvGraphicFramePr>
            <a:graphicFrameLocks noGrp="1"/>
          </p:cNvGraphicFramePr>
          <p:nvPr>
            <p:extLst>
              <p:ext uri="{D42A27DB-BD31-4B8C-83A1-F6EECF244321}">
                <p14:modId xmlns:p14="http://schemas.microsoft.com/office/powerpoint/2010/main" val="44762518"/>
              </p:ext>
            </p:extLst>
          </p:nvPr>
        </p:nvGraphicFramePr>
        <p:xfrm>
          <a:off x="343420" y="5120844"/>
          <a:ext cx="8704976" cy="1432560"/>
        </p:xfrm>
        <a:graphic>
          <a:graphicData uri="http://schemas.openxmlformats.org/drawingml/2006/table">
            <a:tbl>
              <a:tblPr firstRow="1" bandRow="1">
                <a:tableStyleId>{5C22544A-7EE6-4342-B048-85BDC9FD1C3A}</a:tableStyleId>
              </a:tblPr>
              <a:tblGrid>
                <a:gridCol w="2509053">
                  <a:extLst>
                    <a:ext uri="{9D8B030D-6E8A-4147-A177-3AD203B41FA5}">
                      <a16:colId xmlns:a16="http://schemas.microsoft.com/office/drawing/2014/main" val="2190465858"/>
                    </a:ext>
                  </a:extLst>
                </a:gridCol>
                <a:gridCol w="3294264">
                  <a:extLst>
                    <a:ext uri="{9D8B030D-6E8A-4147-A177-3AD203B41FA5}">
                      <a16:colId xmlns:a16="http://schemas.microsoft.com/office/drawing/2014/main" val="440397245"/>
                    </a:ext>
                  </a:extLst>
                </a:gridCol>
                <a:gridCol w="2901659">
                  <a:extLst>
                    <a:ext uri="{9D8B030D-6E8A-4147-A177-3AD203B41FA5}">
                      <a16:colId xmlns:a16="http://schemas.microsoft.com/office/drawing/2014/main" val="3053032867"/>
                    </a:ext>
                  </a:extLst>
                </a:gridCol>
              </a:tblGrid>
              <a:tr h="155617">
                <a:tc>
                  <a:txBody>
                    <a:bodyPr/>
                    <a:lstStyle/>
                    <a:p>
                      <a:pPr algn="ctr"/>
                      <a:r>
                        <a:rPr lang="en-US">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192669">
                <a:tc>
                  <a:txBody>
                    <a:bodyPr/>
                    <a:lstStyle/>
                    <a:p>
                      <a:pPr algn="ctr"/>
                      <a:r>
                        <a:rPr lang="en-US" sz="1800">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a:latin typeface="Book Antiqua" panose="02040602050305030304" pitchFamily="18" charset="0"/>
                        </a:rPr>
                        <a:t>75.2</a:t>
                      </a:r>
                    </a:p>
                    <a:p>
                      <a:pPr algn="ctr"/>
                      <a:r>
                        <a:rPr lang="en-US" sz="1400">
                          <a:latin typeface="Book Antiqua" panose="02040602050305030304" pitchFamily="18" charset="0"/>
                        </a:rPr>
                        <a:t>Performance declined from 2017 by 1.1 percentage poi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9791"/>
                    </a:solidFill>
                  </a:tcPr>
                </a:tc>
                <a:tc>
                  <a:txBody>
                    <a:bodyPr/>
                    <a:lstStyle/>
                    <a:p>
                      <a:pPr algn="ctr"/>
                      <a:r>
                        <a:rPr lang="en-US" sz="1800">
                          <a:latin typeface="Book Antiqua" panose="02040602050305030304" pitchFamily="18" charset="0"/>
                        </a:rPr>
                        <a:t>55.6</a:t>
                      </a:r>
                    </a:p>
                    <a:p>
                      <a:pPr algn="ctr"/>
                      <a:r>
                        <a:rPr lang="en-US" sz="1400">
                          <a:latin typeface="Book Antiqua" panose="02040602050305030304" pitchFamily="18" charset="0"/>
                        </a:rPr>
                        <a:t>Performance declined from 2017 by 2.2 percentage poi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9791"/>
                    </a:solidFill>
                  </a:tcPr>
                </a:tc>
                <a:extLst>
                  <a:ext uri="{0D108BD9-81ED-4DB2-BD59-A6C34878D82A}">
                    <a16:rowId xmlns:a16="http://schemas.microsoft.com/office/drawing/2014/main" val="2835101418"/>
                  </a:ext>
                </a:extLst>
              </a:tr>
            </a:tbl>
          </a:graphicData>
        </a:graphic>
      </p:graphicFrame>
      <p:graphicFrame>
        <p:nvGraphicFramePr>
          <p:cNvPr id="7" name="Table 6">
            <a:extLst>
              <a:ext uri="{FF2B5EF4-FFF2-40B4-BE49-F238E27FC236}">
                <a16:creationId xmlns:a16="http://schemas.microsoft.com/office/drawing/2014/main" id="{D000299B-FFC5-4D24-B916-A612E1EFD5F0}"/>
              </a:ext>
            </a:extLst>
          </p:cNvPr>
          <p:cNvGraphicFramePr>
            <a:graphicFrameLocks noGrp="1"/>
          </p:cNvGraphicFramePr>
          <p:nvPr>
            <p:extLst>
              <p:ext uri="{D42A27DB-BD31-4B8C-83A1-F6EECF244321}">
                <p14:modId xmlns:p14="http://schemas.microsoft.com/office/powerpoint/2010/main" val="2130163174"/>
              </p:ext>
            </p:extLst>
          </p:nvPr>
        </p:nvGraphicFramePr>
        <p:xfrm>
          <a:off x="343419" y="1092843"/>
          <a:ext cx="8704976" cy="3940320"/>
        </p:xfrm>
        <a:graphic>
          <a:graphicData uri="http://schemas.openxmlformats.org/drawingml/2006/table">
            <a:tbl>
              <a:tblPr firstRow="1" bandRow="1">
                <a:tableStyleId>{5C22544A-7EE6-4342-B048-85BDC9FD1C3A}</a:tableStyleId>
              </a:tblPr>
              <a:tblGrid>
                <a:gridCol w="2490146">
                  <a:extLst>
                    <a:ext uri="{9D8B030D-6E8A-4147-A177-3AD203B41FA5}">
                      <a16:colId xmlns:a16="http://schemas.microsoft.com/office/drawing/2014/main" val="3167798883"/>
                    </a:ext>
                  </a:extLst>
                </a:gridCol>
                <a:gridCol w="3454693">
                  <a:extLst>
                    <a:ext uri="{9D8B030D-6E8A-4147-A177-3AD203B41FA5}">
                      <a16:colId xmlns:a16="http://schemas.microsoft.com/office/drawing/2014/main" val="3802407949"/>
                    </a:ext>
                  </a:extLst>
                </a:gridCol>
                <a:gridCol w="2760137">
                  <a:extLst>
                    <a:ext uri="{9D8B030D-6E8A-4147-A177-3AD203B41FA5}">
                      <a16:colId xmlns:a16="http://schemas.microsoft.com/office/drawing/2014/main" val="1620097780"/>
                    </a:ext>
                  </a:extLst>
                </a:gridCol>
              </a:tblGrid>
              <a:tr h="374160">
                <a:tc>
                  <a:txBody>
                    <a:bodyPr/>
                    <a:lstStyle/>
                    <a:p>
                      <a:r>
                        <a:rPr lang="en-US" sz="1800">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8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800">
                          <a:latin typeface="Book Antiqua" panose="02040602050305030304" pitchFamily="18" charset="0"/>
                        </a:rPr>
                        <a:t>Housing/Inco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3519667">
                <a:tc>
                  <a:txBody>
                    <a:bodyPr/>
                    <a:lstStyle/>
                    <a:p>
                      <a:pPr marL="171450" indent="-171450">
                        <a:buFont typeface="Arial" panose="020B0604020202020204" pitchFamily="34" charset="0"/>
                        <a:buChar char="•"/>
                      </a:pPr>
                      <a:r>
                        <a:rPr lang="en-US" sz="1600" baseline="0">
                          <a:latin typeface="Book Antiqua" panose="02040602050305030304" pitchFamily="18" charset="0"/>
                        </a:rPr>
                        <a:t>In 2016, 1 in 12 children ages 0-17 had asthma. Among them, asthma </a:t>
                      </a:r>
                      <a:r>
                        <a:rPr lang="en-US" sz="1600" b="1" baseline="0">
                          <a:latin typeface="Book Antiqua" panose="02040602050305030304" pitchFamily="18" charset="0"/>
                        </a:rPr>
                        <a:t>disproportionately affected males, non-Hispanic Black children, and children from low-income households.</a:t>
                      </a:r>
                    </a:p>
                    <a:p>
                      <a:pPr marL="0" indent="0">
                        <a:buFont typeface="Arial" panose="020B0604020202020204" pitchFamily="34" charset="0"/>
                        <a:buNone/>
                      </a:pPr>
                      <a:r>
                        <a:rPr lang="en-US" sz="1200" baseline="0">
                          <a:latin typeface="Book Antiqua" panose="02040602050305030304" pitchFamily="18" charset="0"/>
                        </a:rPr>
                        <a:t>F. National Healthcare Quality and Disparities Report 20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a:latin typeface="Book Antiqua" panose="02040602050305030304" pitchFamily="18" charset="0"/>
                        </a:rPr>
                        <a:t>Adults with physical disabilities and/or cognitive limitations experienced more asthma than adults without disability</a:t>
                      </a:r>
                      <a:r>
                        <a:rPr lang="en-US" sz="1600" b="0">
                          <a:latin typeface="Book Antiqua" panose="02040602050305030304" pitchFamily="18" charset="0"/>
                        </a:rPr>
                        <a:t>. Age-Adjusted Prevalence Rates (per 1000) Asthma: No disability group (7.6%); Cognitive limitations group (17%); Physical disability group (71%).</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latin typeface="Book Antiqua" panose="02040602050305030304" pitchFamily="18" charset="0"/>
                        </a:rPr>
                        <a:t>H. Disparities by Disability Status Literature Search https://pubmed.ncbi.nlm.nih.gov/21419369/</a:t>
                      </a:r>
                      <a:endParaRPr lang="en-US" sz="1200" b="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a:latin typeface="Book Antiqua" panose="02040602050305030304" pitchFamily="18" charset="0"/>
                        </a:rPr>
                        <a:t>Substandard housing conditions </a:t>
                      </a:r>
                      <a:r>
                        <a:rPr lang="en-US" sz="1600" b="0">
                          <a:latin typeface="Book Antiqua" panose="02040602050305030304" pitchFamily="18" charset="0"/>
                        </a:rPr>
                        <a:t>have been associated with poor health outcomes related to asthm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a:latin typeface="Book Antiqua" panose="02040602050305030304" pitchFamily="18" charset="0"/>
                        </a:rPr>
                        <a:t>Even after controlling for other traditional measures of socioeconomic status, children are </a:t>
                      </a:r>
                      <a:r>
                        <a:rPr lang="en-US" sz="1600" b="1">
                          <a:latin typeface="Book Antiqua" panose="02040602050305030304" pitchFamily="18" charset="0"/>
                        </a:rPr>
                        <a:t>more likely to have asthma the closer their family is to the federal poverty line</a:t>
                      </a:r>
                      <a:r>
                        <a:rPr lang="en-US" sz="1600" b="0">
                          <a:latin typeface="Book Antiqua" panose="02040602050305030304" pitchFamily="18" charset="0"/>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a:latin typeface="Book Antiqua" panose="02040602050305030304" pitchFamily="18" charset="0"/>
                        </a:rPr>
                        <a:t>A. DPH's Literature Review on Quality Measure Performance Disparities. Taylor, Lauren. (2018).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Tree>
    <p:extLst>
      <p:ext uri="{BB962C8B-B14F-4D97-AF65-F5344CB8AC3E}">
        <p14:creationId xmlns:p14="http://schemas.microsoft.com/office/powerpoint/2010/main" val="1504907557"/>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DFDBC-7BA2-4640-91B5-4CA6FD58C027}"/>
              </a:ext>
            </a:extLst>
          </p:cNvPr>
          <p:cNvSpPr>
            <a:spLocks noGrp="1"/>
          </p:cNvSpPr>
          <p:nvPr>
            <p:ph type="title"/>
          </p:nvPr>
        </p:nvSpPr>
        <p:spPr/>
        <p:txBody>
          <a:bodyPr/>
          <a:lstStyle/>
          <a:p>
            <a:r>
              <a:rPr lang="en-US"/>
              <a:t>Breast Cancer Screening (Menu)</a:t>
            </a:r>
          </a:p>
        </p:txBody>
      </p:sp>
      <p:graphicFrame>
        <p:nvGraphicFramePr>
          <p:cNvPr id="4" name="Table 5">
            <a:extLst>
              <a:ext uri="{FF2B5EF4-FFF2-40B4-BE49-F238E27FC236}">
                <a16:creationId xmlns:a16="http://schemas.microsoft.com/office/drawing/2014/main" id="{C8632FB6-F55E-4B58-8046-D8AF7105DF5D}"/>
              </a:ext>
            </a:extLst>
          </p:cNvPr>
          <p:cNvGraphicFramePr>
            <a:graphicFrameLocks noGrp="1"/>
          </p:cNvGraphicFramePr>
          <p:nvPr>
            <p:extLst>
              <p:ext uri="{D42A27DB-BD31-4B8C-83A1-F6EECF244321}">
                <p14:modId xmlns:p14="http://schemas.microsoft.com/office/powerpoint/2010/main" val="583835571"/>
              </p:ext>
            </p:extLst>
          </p:nvPr>
        </p:nvGraphicFramePr>
        <p:xfrm>
          <a:off x="343418" y="5137587"/>
          <a:ext cx="8704977" cy="1163320"/>
        </p:xfrm>
        <a:graphic>
          <a:graphicData uri="http://schemas.openxmlformats.org/drawingml/2006/table">
            <a:tbl>
              <a:tblPr firstRow="1" bandRow="1">
                <a:tableStyleId>{5C22544A-7EE6-4342-B048-85BDC9FD1C3A}</a:tableStyleId>
              </a:tblPr>
              <a:tblGrid>
                <a:gridCol w="2901659">
                  <a:extLst>
                    <a:ext uri="{9D8B030D-6E8A-4147-A177-3AD203B41FA5}">
                      <a16:colId xmlns:a16="http://schemas.microsoft.com/office/drawing/2014/main" val="2190465858"/>
                    </a:ext>
                  </a:extLst>
                </a:gridCol>
                <a:gridCol w="2901659">
                  <a:extLst>
                    <a:ext uri="{9D8B030D-6E8A-4147-A177-3AD203B41FA5}">
                      <a16:colId xmlns:a16="http://schemas.microsoft.com/office/drawing/2014/main" val="440397245"/>
                    </a:ext>
                  </a:extLst>
                </a:gridCol>
                <a:gridCol w="2901659">
                  <a:extLst>
                    <a:ext uri="{9D8B030D-6E8A-4147-A177-3AD203B41FA5}">
                      <a16:colId xmlns:a16="http://schemas.microsoft.com/office/drawing/2014/main" val="3053032867"/>
                    </a:ext>
                  </a:extLst>
                </a:gridCol>
              </a:tblGrid>
              <a:tr h="370840">
                <a:tc>
                  <a:txBody>
                    <a:bodyPr/>
                    <a:lstStyle/>
                    <a:p>
                      <a:pPr algn="ctr"/>
                      <a:r>
                        <a:rPr lang="en-US">
                          <a:latin typeface="Book Antiqua" panose="02040602050305030304" pitchFamily="18" charset="0"/>
                        </a:rPr>
                        <a:t>Set/Specification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Commercial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algn="ctr"/>
                      <a:r>
                        <a:rPr lang="en-US">
                          <a:latin typeface="Book Antiqua" panose="02040602050305030304" pitchFamily="18" charset="0"/>
                        </a:rPr>
                        <a:t>MassHealth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1112467745"/>
                  </a:ext>
                </a:extLst>
              </a:tr>
              <a:tr h="370840">
                <a:tc>
                  <a:txBody>
                    <a:bodyPr/>
                    <a:lstStyle/>
                    <a:p>
                      <a:pPr algn="ctr"/>
                      <a:r>
                        <a:rPr lang="en-US">
                          <a:latin typeface="Book Antiqua" panose="02040602050305030304" pitchFamily="18" charset="0"/>
                        </a:rPr>
                        <a:t>N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a:latin typeface="Book Antiqua" panose="02040602050305030304" pitchFamily="18" charset="0"/>
                        </a:rPr>
                        <a:t>83.1</a:t>
                      </a:r>
                    </a:p>
                    <a:p>
                      <a:pPr algn="ctr"/>
                      <a:r>
                        <a:rPr lang="en-US" sz="1400">
                          <a:latin typeface="Book Antiqua" panose="02040602050305030304" pitchFamily="18" charset="0"/>
                        </a:rPr>
                        <a:t>Performance roughly the same as prior ye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sz="1800">
                          <a:latin typeface="Book Antiqua" panose="02040602050305030304" pitchFamily="18" charset="0"/>
                        </a:rPr>
                        <a:t>69.4</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Book Antiqua" panose="02040602050305030304" pitchFamily="18" charset="0"/>
                        </a:rPr>
                        <a:t>Performance roughly the same as prior ye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2835101418"/>
                  </a:ext>
                </a:extLst>
              </a:tr>
            </a:tbl>
          </a:graphicData>
        </a:graphic>
      </p:graphicFrame>
      <p:graphicFrame>
        <p:nvGraphicFramePr>
          <p:cNvPr id="6" name="Table 5">
            <a:extLst>
              <a:ext uri="{FF2B5EF4-FFF2-40B4-BE49-F238E27FC236}">
                <a16:creationId xmlns:a16="http://schemas.microsoft.com/office/drawing/2014/main" id="{ED6FDEB9-E957-468F-A737-B60E98C2E5CF}"/>
              </a:ext>
            </a:extLst>
          </p:cNvPr>
          <p:cNvGraphicFramePr>
            <a:graphicFrameLocks noGrp="1"/>
          </p:cNvGraphicFramePr>
          <p:nvPr>
            <p:extLst>
              <p:ext uri="{D42A27DB-BD31-4B8C-83A1-F6EECF244321}">
                <p14:modId xmlns:p14="http://schemas.microsoft.com/office/powerpoint/2010/main" val="3159661426"/>
              </p:ext>
            </p:extLst>
          </p:nvPr>
        </p:nvGraphicFramePr>
        <p:xfrm>
          <a:off x="343418" y="1409417"/>
          <a:ext cx="8704977" cy="3487696"/>
        </p:xfrm>
        <a:graphic>
          <a:graphicData uri="http://schemas.openxmlformats.org/drawingml/2006/table">
            <a:tbl>
              <a:tblPr firstRow="1" bandRow="1">
                <a:tableStyleId>{5C22544A-7EE6-4342-B048-85BDC9FD1C3A}</a:tableStyleId>
              </a:tblPr>
              <a:tblGrid>
                <a:gridCol w="4222835">
                  <a:extLst>
                    <a:ext uri="{9D8B030D-6E8A-4147-A177-3AD203B41FA5}">
                      <a16:colId xmlns:a16="http://schemas.microsoft.com/office/drawing/2014/main" val="3167798883"/>
                    </a:ext>
                  </a:extLst>
                </a:gridCol>
                <a:gridCol w="4482142">
                  <a:extLst>
                    <a:ext uri="{9D8B030D-6E8A-4147-A177-3AD203B41FA5}">
                      <a16:colId xmlns:a16="http://schemas.microsoft.com/office/drawing/2014/main" val="3802407949"/>
                    </a:ext>
                  </a:extLst>
                </a:gridCol>
              </a:tblGrid>
              <a:tr h="331879">
                <a:tc>
                  <a:txBody>
                    <a:bodyPr/>
                    <a:lstStyle/>
                    <a:p>
                      <a:r>
                        <a:rPr lang="en-US" sz="1800">
                          <a:latin typeface="Book Antiqua" panose="02040602050305030304" pitchFamily="18" charset="0"/>
                        </a:rPr>
                        <a:t>Race/Ethn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r>
                        <a:rPr lang="en-US" sz="1800">
                          <a:latin typeface="Book Antiqua" panose="02040602050305030304" pitchFamily="18" charset="0"/>
                        </a:rPr>
                        <a:t>Disability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74039470"/>
                  </a:ext>
                </a:extLst>
              </a:tr>
              <a:tr h="3121936">
                <a:tc>
                  <a:txBody>
                    <a:bodyPr/>
                    <a:lstStyle/>
                    <a:p>
                      <a:pPr marL="171450" indent="-171450">
                        <a:buFont typeface="Arial" panose="020B0604020202020204" pitchFamily="34" charset="0"/>
                        <a:buChar char="•"/>
                      </a:pPr>
                      <a:r>
                        <a:rPr lang="en-US" sz="1750" baseline="0">
                          <a:latin typeface="Book Antiqua" panose="02040602050305030304" pitchFamily="18" charset="0"/>
                        </a:rPr>
                        <a:t>UMass performance showed </a:t>
                      </a:r>
                      <a:r>
                        <a:rPr lang="en-US" sz="1750" b="1" baseline="0">
                          <a:latin typeface="Book Antiqua" panose="02040602050305030304" pitchFamily="18" charset="0"/>
                        </a:rPr>
                        <a:t>higher screening rate for White</a:t>
                      </a:r>
                      <a:r>
                        <a:rPr lang="en-US" sz="1750" baseline="0">
                          <a:latin typeface="Book Antiqua" panose="02040602050305030304" pitchFamily="18" charset="0"/>
                        </a:rPr>
                        <a:t> (77%) than other race/multi-racial patients (67%)</a:t>
                      </a:r>
                    </a:p>
                    <a:p>
                      <a:pPr marL="171450" indent="-171450">
                        <a:buFont typeface="Arial" panose="020B0604020202020204" pitchFamily="34" charset="0"/>
                        <a:buChar char="•"/>
                      </a:pPr>
                      <a:r>
                        <a:rPr lang="en-US" sz="1750" baseline="0">
                          <a:latin typeface="Book Antiqua" panose="02040602050305030304" pitchFamily="18" charset="0"/>
                        </a:rPr>
                        <a:t>The Medicaid managed care breast cancer screening rate is 2.6 percentage points </a:t>
                      </a:r>
                      <a:r>
                        <a:rPr lang="en-US" sz="1750" b="1" baseline="0">
                          <a:latin typeface="Book Antiqua" panose="02040602050305030304" pitchFamily="18" charset="0"/>
                        </a:rPr>
                        <a:t>higher for Whites than for Blacks</a:t>
                      </a:r>
                      <a:r>
                        <a:rPr lang="en-US" sz="1750" baseline="0">
                          <a:latin typeface="Book Antiqua" panose="02040602050305030304" pitchFamily="18" charset="0"/>
                        </a:rPr>
                        <a:t> in Michigan, and 6 percentage points higher in Minnesota</a:t>
                      </a:r>
                      <a:r>
                        <a:rPr lang="en-US" sz="1800" baseline="0">
                          <a:latin typeface="Book Antiqua" panose="02040602050305030304" pitchFamily="18" charset="0"/>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u="none" strike="noStrike">
                          <a:effectLst/>
                          <a:latin typeface="Book Antiqua" panose="02040602050305030304" pitchFamily="18" charset="0"/>
                        </a:rPr>
                        <a:t>B3. UMass Memorial Ambulatory Health Equity Quality Dashboard. 12/21/20. </a:t>
                      </a:r>
                    </a:p>
                    <a:p>
                      <a:pPr marL="0" indent="0">
                        <a:buFont typeface="Arial" panose="020B0604020202020204" pitchFamily="34" charset="0"/>
                        <a:buNone/>
                      </a:pPr>
                      <a:r>
                        <a:rPr lang="en-US" sz="1200" baseline="0">
                          <a:latin typeface="Book Antiqua" panose="02040602050305030304" pitchFamily="18" charset="0"/>
                        </a:rPr>
                        <a:t>D. State Disparities Resear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50" b="0">
                          <a:latin typeface="Book Antiqua" panose="02040602050305030304" pitchFamily="18" charset="0"/>
                        </a:rPr>
                        <a:t>Mammography rates for women aged 50+ were </a:t>
                      </a:r>
                      <a:r>
                        <a:rPr lang="en-US" sz="1750" b="1">
                          <a:latin typeface="Book Antiqua" panose="02040602050305030304" pitchFamily="18" charset="0"/>
                        </a:rPr>
                        <a:t>higher for women without disability</a:t>
                      </a:r>
                      <a:r>
                        <a:rPr lang="en-US" sz="1750" b="0">
                          <a:latin typeface="Book Antiqua" panose="02040602050305030304" pitchFamily="18" charset="0"/>
                        </a:rPr>
                        <a:t> (74%) than for women with basic actions difficulty (67%) or complex activity limitation (61%). The lowest mammography rates among women aged 50+ were seen in those with cognitive difficulties (52%) and those with ADL or IADL limitations (51%).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latin typeface="Book Antiqua" panose="02040602050305030304" pitchFamily="18" charset="0"/>
                        </a:rPr>
                        <a:t>H. Disparities by Disability Status Literature Search </a:t>
                      </a:r>
                      <a:r>
                        <a:rPr lang="en-US" sz="1200">
                          <a:latin typeface="Book Antiqua" panose="02040602050305030304" pitchFamily="18" charset="0"/>
                          <a:hlinkClick r:id="rId2"/>
                        </a:rPr>
                        <a:t>https://www.cdc.gov/nchs/data/misc/disability2001-2005.pdf</a:t>
                      </a:r>
                      <a:endParaRPr lang="en-US" sz="1200" b="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367931"/>
                  </a:ext>
                </a:extLst>
              </a:tr>
            </a:tbl>
          </a:graphicData>
        </a:graphic>
      </p:graphicFrame>
      <p:sp>
        <p:nvSpPr>
          <p:cNvPr id="7" name="Content Placeholder 2">
            <a:extLst>
              <a:ext uri="{FF2B5EF4-FFF2-40B4-BE49-F238E27FC236}">
                <a16:creationId xmlns:a16="http://schemas.microsoft.com/office/drawing/2014/main" id="{503E0CE4-30DB-4142-A68B-D95073FAE70B}"/>
              </a:ext>
            </a:extLst>
          </p:cNvPr>
          <p:cNvSpPr txBox="1">
            <a:spLocks/>
          </p:cNvSpPr>
          <p:nvPr/>
        </p:nvSpPr>
        <p:spPr bwMode="auto">
          <a:xfrm>
            <a:off x="272796" y="999534"/>
            <a:ext cx="8536416" cy="441781"/>
          </a:xfrm>
          <a:prstGeom prst="rect">
            <a:avLst/>
          </a:prstGeom>
          <a:noFill/>
          <a:ln w="6350" cmpd="sng">
            <a:noFill/>
            <a:miter lim="800000"/>
            <a:headEnd/>
            <a:tailEnd/>
          </a:ln>
        </p:spPr>
        <p:txBody>
          <a:bodyPr vert="horz" wrap="square" lIns="45720" tIns="46038" rIns="45720" bIns="46038" numCol="1" anchor="t" anchorCtr="0" compatLnSpc="1">
            <a:prstTxWarp prst="textNoShape">
              <a:avLst/>
            </a:prstTxWarp>
          </a:bodyPr>
          <a:lstStyle>
            <a:lvl1pPr marL="381000" indent="-381000" algn="l" rtl="0" eaLnBrk="1" fontAlgn="base" hangingPunct="1">
              <a:spcBef>
                <a:spcPct val="0"/>
              </a:spcBef>
              <a:spcAft>
                <a:spcPts val="1200"/>
              </a:spcAft>
              <a:buClrTx/>
              <a:buSzPct val="100000"/>
              <a:buFont typeface="Wingdings" pitchFamily="2" charset="2"/>
              <a:buChar char="n"/>
              <a:defRPr sz="2000" b="1">
                <a:solidFill>
                  <a:schemeClr val="tx1"/>
                </a:solidFill>
                <a:latin typeface="Book Antiqua" pitchFamily="18" charset="0"/>
                <a:ea typeface="Calibri" pitchFamily="34" charset="0"/>
                <a:cs typeface="Calibri" pitchFamily="34" charset="0"/>
              </a:defRPr>
            </a:lvl1pPr>
            <a:lvl2pPr marL="568325" indent="-222250" algn="l" rtl="0" eaLnBrk="1" fontAlgn="base" hangingPunct="1">
              <a:spcBef>
                <a:spcPct val="0"/>
              </a:spcBef>
              <a:spcAft>
                <a:spcPts val="1200"/>
              </a:spcAft>
              <a:buClrTx/>
              <a:buSzPct val="100000"/>
              <a:buFont typeface="Arial" pitchFamily="34" charset="0"/>
              <a:buChar char="•"/>
              <a:defRPr sz="2000" b="1">
                <a:solidFill>
                  <a:schemeClr val="tx1"/>
                </a:solidFill>
                <a:latin typeface="Book Antiqua" pitchFamily="18"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None/>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a:lstStyle>
          <a:p>
            <a:pPr>
              <a:spcAft>
                <a:spcPts val="0"/>
              </a:spcAft>
            </a:pPr>
            <a:r>
              <a:rPr lang="en-US" sz="1800" b="0" kern="0"/>
              <a:t>NQF has identified this to be a “disparities-sensitive measure.”</a:t>
            </a:r>
          </a:p>
          <a:p>
            <a:pPr marL="346075" lvl="1" indent="0">
              <a:buNone/>
            </a:pPr>
            <a:endParaRPr lang="en-US" sz="1800" kern="0"/>
          </a:p>
        </p:txBody>
      </p:sp>
    </p:spTree>
    <p:extLst>
      <p:ext uri="{BB962C8B-B14F-4D97-AF65-F5344CB8AC3E}">
        <p14:creationId xmlns:p14="http://schemas.microsoft.com/office/powerpoint/2010/main" val="232698766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446631"/>
            <a:ext cx="8469923" cy="4556234"/>
          </a:xfrm>
        </p:spPr>
        <p:txBody>
          <a:bodyPr/>
          <a:lstStyle/>
          <a:p>
            <a:pPr marL="457200" indent="-457200">
              <a:buFont typeface="+mj-lt"/>
              <a:buAutoNum type="arabicPeriod"/>
            </a:pPr>
            <a:r>
              <a:rPr lang="en-US" sz="220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a:cs typeface="Times New Roman" panose="02020603050405020304" pitchFamily="18" charset="0"/>
              </a:rPr>
              <a:t>Annual review</a:t>
            </a:r>
          </a:p>
          <a:p>
            <a:pPr marL="990600" lvl="3" indent="-457200">
              <a:buClr>
                <a:schemeClr val="tx1"/>
              </a:buClr>
              <a:buFont typeface="+mj-lt"/>
              <a:buAutoNum type="alphaLcPeriod"/>
            </a:pPr>
            <a:r>
              <a:rPr lang="en-US" sz="2000">
                <a:solidFill>
                  <a:schemeClr val="tx1"/>
                </a:solidFill>
                <a:latin typeface="Book Antiqua" panose="02040602050305030304" pitchFamily="18" charset="0"/>
                <a:cs typeface="Times New Roman" panose="02020603050405020304" pitchFamily="18" charset="0"/>
              </a:rPr>
              <a:t>Revisions to the annual review process</a:t>
            </a:r>
          </a:p>
          <a:p>
            <a:pPr marL="990600" lvl="3" indent="-457200">
              <a:buClr>
                <a:schemeClr val="tx1"/>
              </a:buClr>
              <a:buFont typeface="+mj-lt"/>
              <a:buAutoNum type="alphaLcPeriod"/>
            </a:pPr>
            <a:r>
              <a:rPr lang="en-US" sz="2000">
                <a:solidFill>
                  <a:schemeClr val="tx1"/>
                </a:solidFill>
                <a:latin typeface="Book Antiqua" panose="02040602050305030304" pitchFamily="18" charset="0"/>
                <a:cs typeface="Times New Roman" panose="02020603050405020304" pitchFamily="18" charset="0"/>
              </a:rPr>
              <a:t>Follow-up items from November</a:t>
            </a:r>
          </a:p>
          <a:p>
            <a:pPr marL="990600" lvl="3" indent="-457200">
              <a:buClr>
                <a:schemeClr val="tx1"/>
              </a:buClr>
              <a:buFont typeface="+mj-lt"/>
              <a:buAutoNum type="alphaLcPeriod"/>
            </a:pPr>
            <a:r>
              <a:rPr lang="en-US" sz="2000">
                <a:solidFill>
                  <a:schemeClr val="tx1"/>
                </a:solidFill>
                <a:latin typeface="Book Antiqua" panose="02040602050305030304" pitchFamily="18" charset="0"/>
                <a:cs typeface="Times New Roman" panose="02020603050405020304" pitchFamily="18" charset="0"/>
              </a:rPr>
              <a:t>Process for measure culling</a:t>
            </a:r>
          </a:p>
          <a:p>
            <a:pPr marL="990600" lvl="3" indent="-457200">
              <a:buClr>
                <a:schemeClr val="tx1"/>
              </a:buClr>
              <a:buFont typeface="+mj-lt"/>
              <a:buAutoNum type="alphaLcPeriod"/>
            </a:pPr>
            <a:r>
              <a:rPr lang="en-US" sz="2000">
                <a:solidFill>
                  <a:schemeClr val="tx1"/>
                </a:solidFill>
                <a:latin typeface="Book Antiqua" panose="02040602050305030304" pitchFamily="18" charset="0"/>
                <a:cs typeface="Times New Roman" panose="02020603050405020304" pitchFamily="18" charset="0"/>
              </a:rPr>
              <a:t>2020 Quality Catalogue findings</a:t>
            </a:r>
          </a:p>
          <a:p>
            <a:pPr marL="990600" lvl="3" indent="-457200">
              <a:buClr>
                <a:schemeClr val="tx1"/>
              </a:buClr>
              <a:buFont typeface="+mj-lt"/>
              <a:buAutoNum type="alphaLcPeriod"/>
            </a:pPr>
            <a:r>
              <a:rPr lang="en-US" sz="2000">
                <a:solidFill>
                  <a:schemeClr val="tx1"/>
                </a:solidFill>
                <a:latin typeface="Book Antiqua" panose="02040602050305030304" pitchFamily="18" charset="0"/>
                <a:cs typeface="Times New Roman" panose="02020603050405020304" pitchFamily="18" charset="0"/>
              </a:rPr>
              <a:t>Review existing measures</a:t>
            </a:r>
          </a:p>
          <a:p>
            <a:pPr marL="457200" indent="-457200">
              <a:buFont typeface="+mj-lt"/>
              <a:buAutoNum type="arabicPeriod"/>
            </a:pPr>
            <a:r>
              <a:rPr lang="en-US" sz="2200">
                <a:cs typeface="Times New Roman" panose="02020603050405020304" pitchFamily="18" charset="0"/>
              </a:rPr>
              <a:t>Next steps</a:t>
            </a:r>
            <a:endParaRPr lang="en-US" sz="2200"/>
          </a:p>
        </p:txBody>
      </p:sp>
      <p:sp>
        <p:nvSpPr>
          <p:cNvPr id="5" name="Rectangle 4">
            <a:extLst>
              <a:ext uri="{FF2B5EF4-FFF2-40B4-BE49-F238E27FC236}">
                <a16:creationId xmlns:a16="http://schemas.microsoft.com/office/drawing/2014/main" id="{D3915D3D-656E-48AA-8D63-358A7E5AA453}"/>
              </a:ext>
            </a:extLst>
          </p:cNvPr>
          <p:cNvSpPr/>
          <p:nvPr/>
        </p:nvSpPr>
        <p:spPr>
          <a:xfrm>
            <a:off x="0" y="1825800"/>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71029400"/>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446631"/>
            <a:ext cx="8469923" cy="4556234"/>
          </a:xfrm>
        </p:spPr>
        <p:txBody>
          <a:bodyPr/>
          <a:lstStyle/>
          <a:p>
            <a:pPr marL="457200" indent="-457200">
              <a:buFont typeface="+mj-lt"/>
              <a:buAutoNum type="arabicPeriod"/>
            </a:pPr>
            <a:r>
              <a:rPr lang="en-US" sz="220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a:cs typeface="Times New Roman" panose="02020603050405020304" pitchFamily="18" charset="0"/>
              </a:rPr>
              <a:t>Annual review</a:t>
            </a:r>
          </a:p>
          <a:p>
            <a:pPr marL="990600" lvl="3" indent="-457200">
              <a:buClr>
                <a:schemeClr val="tx1"/>
              </a:buClr>
              <a:buFont typeface="+mj-lt"/>
              <a:buAutoNum type="alphaLcPeriod"/>
            </a:pPr>
            <a:r>
              <a:rPr lang="en-US" sz="2000">
                <a:solidFill>
                  <a:schemeClr val="tx1"/>
                </a:solidFill>
                <a:latin typeface="Book Antiqua" panose="02040602050305030304" pitchFamily="18" charset="0"/>
                <a:cs typeface="Times New Roman" panose="02020603050405020304" pitchFamily="18" charset="0"/>
              </a:rPr>
              <a:t>Revisions to the annual review process</a:t>
            </a:r>
          </a:p>
          <a:p>
            <a:pPr marL="990600" lvl="3" indent="-457200">
              <a:buClr>
                <a:schemeClr val="tx1"/>
              </a:buClr>
              <a:buFont typeface="+mj-lt"/>
              <a:buAutoNum type="alphaLcPeriod"/>
            </a:pPr>
            <a:r>
              <a:rPr lang="en-US" sz="2000">
                <a:solidFill>
                  <a:schemeClr val="tx1"/>
                </a:solidFill>
                <a:latin typeface="Book Antiqua" panose="02040602050305030304" pitchFamily="18" charset="0"/>
                <a:cs typeface="Times New Roman" panose="02020603050405020304" pitchFamily="18" charset="0"/>
              </a:rPr>
              <a:t>Follow-up items from November</a:t>
            </a:r>
          </a:p>
          <a:p>
            <a:pPr marL="990600" lvl="3" indent="-457200">
              <a:buClr>
                <a:schemeClr val="tx1"/>
              </a:buClr>
              <a:buFont typeface="+mj-lt"/>
              <a:buAutoNum type="alphaLcPeriod"/>
            </a:pPr>
            <a:r>
              <a:rPr lang="en-US" sz="2000">
                <a:solidFill>
                  <a:schemeClr val="tx1"/>
                </a:solidFill>
                <a:latin typeface="Book Antiqua" panose="02040602050305030304" pitchFamily="18" charset="0"/>
                <a:cs typeface="Times New Roman" panose="02020603050405020304" pitchFamily="18" charset="0"/>
              </a:rPr>
              <a:t>Process for measure culling</a:t>
            </a:r>
          </a:p>
          <a:p>
            <a:pPr marL="990600" lvl="3" indent="-457200">
              <a:buClr>
                <a:schemeClr val="tx1"/>
              </a:buClr>
              <a:buFont typeface="+mj-lt"/>
              <a:buAutoNum type="alphaLcPeriod"/>
            </a:pPr>
            <a:r>
              <a:rPr lang="en-US" sz="2000">
                <a:solidFill>
                  <a:schemeClr val="tx1"/>
                </a:solidFill>
                <a:latin typeface="Book Antiqua" panose="02040602050305030304" pitchFamily="18" charset="0"/>
                <a:cs typeface="Times New Roman" panose="02020603050405020304" pitchFamily="18" charset="0"/>
              </a:rPr>
              <a:t>2020 Quality Catalogue findings</a:t>
            </a:r>
          </a:p>
          <a:p>
            <a:pPr marL="990600" lvl="3" indent="-457200">
              <a:buClr>
                <a:schemeClr val="tx1"/>
              </a:buClr>
              <a:buFont typeface="+mj-lt"/>
              <a:buAutoNum type="alphaLcPeriod"/>
            </a:pPr>
            <a:r>
              <a:rPr lang="en-US" sz="2000">
                <a:solidFill>
                  <a:schemeClr val="tx1"/>
                </a:solidFill>
                <a:latin typeface="Book Antiqua" panose="02040602050305030304" pitchFamily="18" charset="0"/>
                <a:cs typeface="Times New Roman" panose="02020603050405020304" pitchFamily="18" charset="0"/>
              </a:rPr>
              <a:t>Review existing measures</a:t>
            </a:r>
          </a:p>
          <a:p>
            <a:pPr marL="457200" indent="-457200">
              <a:buFont typeface="+mj-lt"/>
              <a:buAutoNum type="arabicPeriod"/>
            </a:pPr>
            <a:r>
              <a:rPr lang="en-US" sz="2200">
                <a:cs typeface="Times New Roman" panose="02020603050405020304" pitchFamily="18" charset="0"/>
              </a:rPr>
              <a:t>Next steps</a:t>
            </a:r>
            <a:endParaRPr lang="en-US" sz="2200"/>
          </a:p>
        </p:txBody>
      </p:sp>
      <p:sp>
        <p:nvSpPr>
          <p:cNvPr id="5" name="Rectangle 4">
            <a:extLst>
              <a:ext uri="{FF2B5EF4-FFF2-40B4-BE49-F238E27FC236}">
                <a16:creationId xmlns:a16="http://schemas.microsoft.com/office/drawing/2014/main" id="{D3915D3D-656E-48AA-8D63-358A7E5AA453}"/>
              </a:ext>
            </a:extLst>
          </p:cNvPr>
          <p:cNvSpPr/>
          <p:nvPr/>
        </p:nvSpPr>
        <p:spPr>
          <a:xfrm>
            <a:off x="0" y="4620280"/>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8637860"/>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D77C2-F836-4F58-809A-223B58877900}"/>
              </a:ext>
            </a:extLst>
          </p:cNvPr>
          <p:cNvSpPr>
            <a:spLocks noGrp="1"/>
          </p:cNvSpPr>
          <p:nvPr>
            <p:ph type="title"/>
          </p:nvPr>
        </p:nvSpPr>
        <p:spPr/>
        <p:txBody>
          <a:bodyPr/>
          <a:lstStyle/>
          <a:p>
            <a:r>
              <a:rPr lang="en-US"/>
              <a:t>Next Steps and Meeting 42</a:t>
            </a:r>
          </a:p>
        </p:txBody>
      </p:sp>
      <p:sp>
        <p:nvSpPr>
          <p:cNvPr id="3" name="Content Placeholder 2">
            <a:extLst>
              <a:ext uri="{FF2B5EF4-FFF2-40B4-BE49-F238E27FC236}">
                <a16:creationId xmlns:a16="http://schemas.microsoft.com/office/drawing/2014/main" id="{23982B12-54F3-4BA6-BB25-2E0F88B305AC}"/>
              </a:ext>
            </a:extLst>
          </p:cNvPr>
          <p:cNvSpPr>
            <a:spLocks noGrp="1"/>
          </p:cNvSpPr>
          <p:nvPr>
            <p:ph sz="half" idx="1"/>
          </p:nvPr>
        </p:nvSpPr>
        <p:spPr/>
        <p:txBody>
          <a:bodyPr/>
          <a:lstStyle/>
          <a:p>
            <a:r>
              <a:rPr lang="en-US" sz="2200"/>
              <a:t>Next Steps</a:t>
            </a:r>
          </a:p>
          <a:p>
            <a:r>
              <a:rPr lang="en-US" sz="2200"/>
              <a:t>Meeting 42 (Feb. 23</a:t>
            </a:r>
            <a:r>
              <a:rPr lang="en-US" sz="2200" baseline="30000"/>
              <a:t>rd</a:t>
            </a:r>
            <a:r>
              <a:rPr lang="en-US" sz="2200"/>
              <a:t>) Annual Review Topics:</a:t>
            </a:r>
          </a:p>
          <a:p>
            <a:pPr lvl="1"/>
            <a:r>
              <a:rPr lang="en-US" sz="2200" b="0">
                <a:effectLst/>
                <a:latin typeface="Book Antiqua" panose="02040602050305030304" pitchFamily="18" charset="0"/>
                <a:ea typeface="Times New Roman" panose="02020603050405020304" pitchFamily="18" charset="0"/>
                <a:cs typeface="Times New Roman" panose="02020603050405020304" pitchFamily="18" charset="0"/>
              </a:rPr>
              <a:t>Finish review of the measures in the existing Aligned Measure Set</a:t>
            </a:r>
          </a:p>
          <a:p>
            <a:pPr lvl="1"/>
            <a:r>
              <a:rPr lang="en-US" sz="2200" b="0">
                <a:ea typeface="Times New Roman" panose="02020603050405020304" pitchFamily="18" charset="0"/>
                <a:cs typeface="Times New Roman" panose="02020603050405020304" pitchFamily="18" charset="0"/>
              </a:rPr>
              <a:t>Continue the c</a:t>
            </a:r>
            <a:r>
              <a:rPr lang="en-US" sz="2200" b="0">
                <a:effectLst/>
                <a:latin typeface="Book Antiqua" panose="02040602050305030304" pitchFamily="18" charset="0"/>
                <a:ea typeface="Times New Roman" panose="02020603050405020304" pitchFamily="18" charset="0"/>
                <a:cs typeface="Times New Roman" panose="02020603050405020304" pitchFamily="18" charset="0"/>
              </a:rPr>
              <a:t>onsideration of new measures </a:t>
            </a:r>
          </a:p>
          <a:p>
            <a:pPr lvl="1"/>
            <a:r>
              <a:rPr lang="en-US" sz="2200" b="0">
                <a:ea typeface="Times New Roman" panose="02020603050405020304" pitchFamily="18" charset="0"/>
                <a:cs typeface="Times New Roman" panose="02020603050405020304" pitchFamily="18" charset="0"/>
              </a:rPr>
              <a:t>Follow-up items from the November Taskforce meeting</a:t>
            </a:r>
            <a:endParaRPr lang="en-US" sz="2200" b="0">
              <a:effectLst/>
              <a:latin typeface="Book Antiqua" panose="02040602050305030304" pitchFamily="18" charset="0"/>
              <a:ea typeface="Times New Roman" panose="02020603050405020304" pitchFamily="18" charset="0"/>
              <a:cs typeface="Times New Roman" panose="02020603050405020304" pitchFamily="18" charset="0"/>
            </a:endParaRPr>
          </a:p>
          <a:p>
            <a:pPr lvl="1"/>
            <a:endParaRPr lang="en-US" sz="2200" b="0">
              <a:effectLst/>
              <a:latin typeface="Book Antiqua" panose="02040602050305030304" pitchFamily="18" charset="0"/>
              <a:ea typeface="Times New Roman" panose="02020603050405020304" pitchFamily="18" charset="0"/>
              <a:cs typeface="Times New Roman" panose="02020603050405020304" pitchFamily="18" charset="0"/>
            </a:endParaRPr>
          </a:p>
          <a:p>
            <a:pPr lvl="1"/>
            <a:endParaRPr lang="en-US"/>
          </a:p>
        </p:txBody>
      </p:sp>
    </p:spTree>
    <p:extLst>
      <p:ext uri="{BB962C8B-B14F-4D97-AF65-F5344CB8AC3E}">
        <p14:creationId xmlns:p14="http://schemas.microsoft.com/office/powerpoint/2010/main" val="99476088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710C97-9381-48F0-98B3-11EDA7DE1A05}"/>
              </a:ext>
            </a:extLst>
          </p:cNvPr>
          <p:cNvSpPr>
            <a:spLocks noGrp="1"/>
          </p:cNvSpPr>
          <p:nvPr>
            <p:ph type="title"/>
          </p:nvPr>
        </p:nvSpPr>
        <p:spPr>
          <a:xfrm>
            <a:off x="736599" y="109538"/>
            <a:ext cx="7675881" cy="762000"/>
          </a:xfrm>
        </p:spPr>
        <p:txBody>
          <a:bodyPr/>
          <a:lstStyle/>
          <a:p>
            <a:r>
              <a:rPr lang="en-US"/>
              <a:t>Annual Review Process – Revised to Review Existing Measures Before New Measures and Cull the Set</a:t>
            </a:r>
          </a:p>
        </p:txBody>
      </p:sp>
      <p:graphicFrame>
        <p:nvGraphicFramePr>
          <p:cNvPr id="4" name="Table 4">
            <a:extLst>
              <a:ext uri="{FF2B5EF4-FFF2-40B4-BE49-F238E27FC236}">
                <a16:creationId xmlns:a16="http://schemas.microsoft.com/office/drawing/2014/main" id="{2BF16781-B2A9-4BFA-A6A2-944B11AC9EC1}"/>
              </a:ext>
            </a:extLst>
          </p:cNvPr>
          <p:cNvGraphicFramePr>
            <a:graphicFrameLocks noGrp="1"/>
          </p:cNvGraphicFramePr>
          <p:nvPr>
            <p:extLst>
              <p:ext uri="{D42A27DB-BD31-4B8C-83A1-F6EECF244321}">
                <p14:modId xmlns:p14="http://schemas.microsoft.com/office/powerpoint/2010/main" val="4281620214"/>
              </p:ext>
            </p:extLst>
          </p:nvPr>
        </p:nvGraphicFramePr>
        <p:xfrm>
          <a:off x="304800" y="996207"/>
          <a:ext cx="8677832" cy="5400040"/>
        </p:xfrm>
        <a:graphic>
          <a:graphicData uri="http://schemas.openxmlformats.org/drawingml/2006/table">
            <a:tbl>
              <a:tblPr firstRow="1" bandRow="1">
                <a:tableStyleId>{5C22544A-7EE6-4342-B048-85BDC9FD1C3A}</a:tableStyleId>
              </a:tblPr>
              <a:tblGrid>
                <a:gridCol w="6759388">
                  <a:extLst>
                    <a:ext uri="{9D8B030D-6E8A-4147-A177-3AD203B41FA5}">
                      <a16:colId xmlns:a16="http://schemas.microsoft.com/office/drawing/2014/main" val="2134932523"/>
                    </a:ext>
                  </a:extLst>
                </a:gridCol>
                <a:gridCol w="1918444">
                  <a:extLst>
                    <a:ext uri="{9D8B030D-6E8A-4147-A177-3AD203B41FA5}">
                      <a16:colId xmlns:a16="http://schemas.microsoft.com/office/drawing/2014/main" val="1460023229"/>
                    </a:ext>
                  </a:extLst>
                </a:gridCol>
              </a:tblGrid>
              <a:tr h="370840">
                <a:tc>
                  <a:txBody>
                    <a:bodyPr/>
                    <a:lstStyle/>
                    <a:p>
                      <a:r>
                        <a:rPr lang="en-US">
                          <a:latin typeface="Book Antiqua" panose="02040602050305030304" pitchFamily="18" charset="0"/>
                        </a:rPr>
                        <a:t>Ste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a:latin typeface="Book Antiqua" panose="02040602050305030304" pitchFamily="18" charset="0"/>
                        </a:rPr>
                        <a:t>Tim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4236262252"/>
                  </a:ext>
                </a:extLst>
              </a:tr>
              <a:tr h="370840">
                <a:tc>
                  <a:txBody>
                    <a:bodyPr/>
                    <a:lstStyle/>
                    <a:p>
                      <a:r>
                        <a:rPr lang="en-US">
                          <a:latin typeface="Book Antiqua" panose="02040602050305030304" pitchFamily="18" charset="0"/>
                        </a:rPr>
                        <a:t>1. </a:t>
                      </a:r>
                      <a:r>
                        <a:rPr lang="en-US" b="1">
                          <a:latin typeface="Book Antiqua" panose="02040602050305030304" pitchFamily="18" charset="0"/>
                        </a:rPr>
                        <a:t>Background</a:t>
                      </a:r>
                    </a:p>
                    <a:p>
                      <a:pPr marL="285750" indent="-285750">
                        <a:buFont typeface="Arial" panose="020B0604020202020204" pitchFamily="34" charset="0"/>
                        <a:buChar char="•"/>
                      </a:pPr>
                      <a:r>
                        <a:rPr lang="en-US">
                          <a:latin typeface="Book Antiqua" panose="02040602050305030304" pitchFamily="18" charset="0"/>
                        </a:rPr>
                        <a:t>Measure selection criteria</a:t>
                      </a:r>
                    </a:p>
                    <a:p>
                      <a:pPr marL="285750" indent="-285750">
                        <a:buFont typeface="Arial" panose="020B0604020202020204" pitchFamily="34" charset="0"/>
                        <a:buChar char="•"/>
                      </a:pPr>
                      <a:r>
                        <a:rPr lang="en-US">
                          <a:latin typeface="Book Antiqua" panose="02040602050305030304" pitchFamily="18" charset="0"/>
                        </a:rPr>
                        <a:t>State prioriti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latin typeface="Book Antiqua" panose="02040602050305030304" pitchFamily="18" charset="0"/>
                        </a:rPr>
                        <a:t>Meeting 4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04863083"/>
                  </a:ext>
                </a:extLst>
              </a:tr>
              <a:tr h="370840">
                <a:tc>
                  <a:txBody>
                    <a:bodyPr/>
                    <a:lstStyle/>
                    <a:p>
                      <a:r>
                        <a:rPr lang="en-US">
                          <a:latin typeface="Book Antiqua" panose="02040602050305030304" pitchFamily="18" charset="0"/>
                        </a:rPr>
                        <a:t>2. </a:t>
                      </a:r>
                      <a:r>
                        <a:rPr lang="en-US" b="1">
                          <a:latin typeface="Book Antiqua" panose="02040602050305030304" pitchFamily="18" charset="0"/>
                        </a:rPr>
                        <a:t>Review of the existing measure set</a:t>
                      </a:r>
                      <a:endParaRPr lang="en-US" b="1" i="1">
                        <a:latin typeface="Book Antiqua" panose="0204060205030503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atin typeface="Book Antiqua" panose="02040602050305030304" pitchFamily="18" charset="0"/>
                        </a:rPr>
                        <a:t>Opportunities to promote health equ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atin typeface="Book Antiqua" panose="02040602050305030304" pitchFamily="18" charset="0"/>
                        </a:rPr>
                        <a:t>Specification changes</a:t>
                      </a:r>
                    </a:p>
                    <a:p>
                      <a:pPr marL="285750" indent="-285750">
                        <a:buFont typeface="Arial" panose="020B0604020202020204" pitchFamily="34" charset="0"/>
                        <a:buChar char="•"/>
                      </a:pPr>
                      <a:r>
                        <a:rPr lang="en-US">
                          <a:latin typeface="Book Antiqua" panose="02040602050305030304" pitchFamily="18" charset="0"/>
                        </a:rPr>
                        <a:t>Use in contracts (through review of the Quality Catalogue)</a:t>
                      </a:r>
                    </a:p>
                    <a:p>
                      <a:pPr marL="285750" indent="-285750">
                        <a:buFont typeface="Arial" panose="020B0604020202020204" pitchFamily="34" charset="0"/>
                        <a:buChar char="•"/>
                      </a:pPr>
                      <a:r>
                        <a:rPr lang="en-US">
                          <a:latin typeface="Book Antiqua" panose="02040602050305030304" pitchFamily="18" charset="0"/>
                        </a:rPr>
                        <a:t>Recent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latin typeface="Book Antiqua" panose="02040602050305030304" pitchFamily="18" charset="0"/>
                        </a:rPr>
                        <a:t>Meetings 41 - 4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7517770"/>
                  </a:ext>
                </a:extLst>
              </a:tr>
              <a:tr h="370840">
                <a:tc>
                  <a:txBody>
                    <a:bodyPr/>
                    <a:lstStyle/>
                    <a:p>
                      <a:r>
                        <a:rPr lang="en-US">
                          <a:latin typeface="Book Antiqua" panose="02040602050305030304" pitchFamily="18" charset="0"/>
                        </a:rPr>
                        <a:t>3. </a:t>
                      </a:r>
                      <a:r>
                        <a:rPr lang="en-US" b="1">
                          <a:latin typeface="Book Antiqua" panose="02040602050305030304" pitchFamily="18" charset="0"/>
                        </a:rPr>
                        <a:t>Consideration of new measures</a:t>
                      </a:r>
                    </a:p>
                    <a:p>
                      <a:pPr marL="285750" indent="-285750">
                        <a:buFont typeface="Arial" panose="020B0604020202020204" pitchFamily="34" charset="0"/>
                        <a:buChar char="•"/>
                      </a:pPr>
                      <a:r>
                        <a:rPr lang="en-US">
                          <a:latin typeface="Book Antiqua" panose="02040602050305030304" pitchFamily="18" charset="0"/>
                        </a:rPr>
                        <a:t>New to the MSSP and Medicaid Core Sets</a:t>
                      </a:r>
                    </a:p>
                    <a:p>
                      <a:pPr marL="285750" indent="-285750">
                        <a:buFont typeface="Arial" panose="020B0604020202020204" pitchFamily="34" charset="0"/>
                        <a:buChar char="•"/>
                      </a:pPr>
                      <a:r>
                        <a:rPr lang="en-US">
                          <a:latin typeface="Book Antiqua" panose="02040602050305030304" pitchFamily="18" charset="0"/>
                        </a:rPr>
                        <a:t>Substance use disorder measures sca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atin typeface="Book Antiqua" panose="02040602050305030304" pitchFamily="18" charset="0"/>
                        </a:rPr>
                        <a:t>Revisit inclusion of a measure in the Core Set that requires reporting of RELD data (from October 21</a:t>
                      </a:r>
                      <a:r>
                        <a:rPr lang="en-US" baseline="30000">
                          <a:latin typeface="Book Antiqua" panose="02040602050305030304" pitchFamily="18" charset="0"/>
                        </a:rPr>
                        <a:t>st</a:t>
                      </a:r>
                      <a:r>
                        <a:rPr lang="en-US">
                          <a:latin typeface="Book Antiqua" panose="02040602050305030304" pitchFamily="18" charset="0"/>
                        </a:rPr>
                        <a:t> meet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atin typeface="Book Antiqua" panose="02040602050305030304" pitchFamily="18" charset="0"/>
                        </a:rPr>
                        <a:t>Care coordin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atin typeface="Book Antiqua" panose="02040602050305030304" pitchFamily="18" charset="0"/>
                        </a:rPr>
                        <a:t>Those identified from public com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latin typeface="Book Antiqua" panose="02040602050305030304" pitchFamily="18" charset="0"/>
                        </a:rPr>
                        <a:t>Meetings 40, Meeting 43 - 4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11349080"/>
                  </a:ext>
                </a:extLst>
              </a:tr>
              <a:tr h="370840">
                <a:tc>
                  <a:txBody>
                    <a:bodyPr/>
                    <a:lstStyle/>
                    <a:p>
                      <a:r>
                        <a:rPr lang="en-US">
                          <a:latin typeface="Book Antiqua" panose="02040602050305030304" pitchFamily="18" charset="0"/>
                        </a:rPr>
                        <a:t>4. </a:t>
                      </a:r>
                      <a:r>
                        <a:rPr lang="en-US" b="1">
                          <a:latin typeface="Book Antiqua" panose="02040602050305030304" pitchFamily="18" charset="0"/>
                        </a:rPr>
                        <a:t>Revisit tentatively proposed changes, </a:t>
                      </a:r>
                      <a:r>
                        <a:rPr lang="en-US" b="1" i="1" u="sng">
                          <a:latin typeface="Book Antiqua" panose="02040602050305030304" pitchFamily="18" charset="0"/>
                        </a:rPr>
                        <a:t>consider removal of measures</a:t>
                      </a:r>
                      <a:r>
                        <a:rPr lang="en-US" b="1">
                          <a:latin typeface="Book Antiqua" panose="02040602050305030304" pitchFamily="18" charset="0"/>
                        </a:rPr>
                        <a:t>, and finalize the Aligned Measure Set for 20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latin typeface="Book Antiqua" panose="02040602050305030304" pitchFamily="18" charset="0"/>
                        </a:rPr>
                        <a:t>Meeting 4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78192272"/>
                  </a:ext>
                </a:extLst>
              </a:tr>
            </a:tbl>
          </a:graphicData>
        </a:graphic>
      </p:graphicFrame>
    </p:spTree>
    <p:extLst>
      <p:ext uri="{BB962C8B-B14F-4D97-AF65-F5344CB8AC3E}">
        <p14:creationId xmlns:p14="http://schemas.microsoft.com/office/powerpoint/2010/main" val="69020187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254C91-459F-4A24-90CC-515859EAFC8D}"/>
              </a:ext>
            </a:extLst>
          </p:cNvPr>
          <p:cNvSpPr>
            <a:spLocks noGrp="1"/>
          </p:cNvSpPr>
          <p:nvPr>
            <p:ph type="title"/>
          </p:nvPr>
        </p:nvSpPr>
        <p:spPr/>
        <p:txBody>
          <a:bodyPr/>
          <a:lstStyle/>
          <a:p>
            <a:r>
              <a:rPr lang="en-US"/>
              <a:t>Timeline for Annual Review</a:t>
            </a:r>
          </a:p>
        </p:txBody>
      </p:sp>
      <p:sp>
        <p:nvSpPr>
          <p:cNvPr id="3" name="Content Placeholder 2">
            <a:extLst>
              <a:ext uri="{FF2B5EF4-FFF2-40B4-BE49-F238E27FC236}">
                <a16:creationId xmlns:a16="http://schemas.microsoft.com/office/drawing/2014/main" id="{20D717F3-CC3C-4396-804C-898E479BBE36}"/>
              </a:ext>
            </a:extLst>
          </p:cNvPr>
          <p:cNvSpPr>
            <a:spLocks noGrp="1"/>
          </p:cNvSpPr>
          <p:nvPr>
            <p:ph sz="half" idx="1"/>
          </p:nvPr>
        </p:nvSpPr>
        <p:spPr/>
        <p:txBody>
          <a:bodyPr/>
          <a:lstStyle/>
          <a:p>
            <a:r>
              <a:rPr lang="en-US" b="0"/>
              <a:t>As a reminder, Massachusetts Aligned Measure Set for Global Budget-Based Risk Contracts 2021 Measures and Implementation Parameters state that “The Taskforce will conduct an annual review of the Massachusetts Aligned Measure Set (see details in Section IV) and finalize any </a:t>
            </a:r>
            <a:r>
              <a:rPr lang="en-US" i="1"/>
              <a:t>recommended modifications to the measure set by 3/31 each year  for the next calendar year</a:t>
            </a:r>
            <a:r>
              <a:rPr lang="en-US" b="0"/>
              <a:t>.”</a:t>
            </a:r>
          </a:p>
          <a:p>
            <a:r>
              <a:rPr lang="en-US" b="0"/>
              <a:t>As you saw on the previous slide, Taskforce staff have decided to extend the timeline for this year’s annual review process through May due to interruptions in the annual review process caused by the pandemic.</a:t>
            </a:r>
          </a:p>
          <a:p>
            <a:endParaRPr lang="en-US" b="0"/>
          </a:p>
        </p:txBody>
      </p:sp>
    </p:spTree>
    <p:extLst>
      <p:ext uri="{BB962C8B-B14F-4D97-AF65-F5344CB8AC3E}">
        <p14:creationId xmlns:p14="http://schemas.microsoft.com/office/powerpoint/2010/main" val="615465991"/>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09C13-2ACC-4015-AF58-3A819B01A2EA}"/>
              </a:ext>
            </a:extLst>
          </p:cNvPr>
          <p:cNvSpPr>
            <a:spLocks noGrp="1"/>
          </p:cNvSpPr>
          <p:nvPr>
            <p:ph type="title"/>
          </p:nvPr>
        </p:nvSpPr>
        <p:spPr/>
        <p:txBody>
          <a:bodyPr/>
          <a:lstStyle/>
          <a:p>
            <a:r>
              <a:rPr lang="en-US"/>
              <a:t>Reminder:</a:t>
            </a:r>
            <a:br>
              <a:rPr lang="en-US"/>
            </a:br>
            <a:r>
              <a:rPr lang="en-US"/>
              <a:t>State Health Priorities</a:t>
            </a:r>
          </a:p>
        </p:txBody>
      </p:sp>
      <p:sp>
        <p:nvSpPr>
          <p:cNvPr id="3" name="Content Placeholder 2">
            <a:extLst>
              <a:ext uri="{FF2B5EF4-FFF2-40B4-BE49-F238E27FC236}">
                <a16:creationId xmlns:a16="http://schemas.microsoft.com/office/drawing/2014/main" id="{8BBE5596-3756-40D5-A8E5-AB4F6AD61112}"/>
              </a:ext>
            </a:extLst>
          </p:cNvPr>
          <p:cNvSpPr>
            <a:spLocks noGrp="1"/>
          </p:cNvSpPr>
          <p:nvPr>
            <p:ph sz="half" idx="1"/>
          </p:nvPr>
        </p:nvSpPr>
        <p:spPr>
          <a:xfrm>
            <a:off x="533400" y="1259059"/>
            <a:ext cx="8077200" cy="4556234"/>
          </a:xfrm>
        </p:spPr>
        <p:txBody>
          <a:bodyPr/>
          <a:lstStyle/>
          <a:p>
            <a:pPr marL="0" lvl="0" indent="0">
              <a:spcAft>
                <a:spcPts val="600"/>
              </a:spcAft>
              <a:buNone/>
            </a:pPr>
            <a:r>
              <a:rPr lang="en-US" b="0"/>
              <a:t>The Secretariat has identified the following as continuing state health priorities to be considered when discussing the 2022 measure set, despite the COVID-19 state of emergency:</a:t>
            </a:r>
          </a:p>
          <a:p>
            <a:pPr marL="0" lvl="0" indent="0">
              <a:buNone/>
            </a:pPr>
            <a:endParaRPr lang="en-US" sz="800" b="0"/>
          </a:p>
          <a:p>
            <a:pPr marL="457200" lvl="0" indent="-457200">
              <a:buFont typeface="+mj-lt"/>
              <a:buAutoNum type="arabicPeriod"/>
            </a:pPr>
            <a:r>
              <a:rPr lang="en-US"/>
              <a:t>Substance use disorders</a:t>
            </a:r>
          </a:p>
          <a:p>
            <a:pPr marL="457200" lvl="0" indent="-457200">
              <a:buFont typeface="+mj-lt"/>
              <a:buAutoNum type="arabicPeriod"/>
            </a:pPr>
            <a:r>
              <a:rPr lang="en-US"/>
              <a:t>Mental health, including pediatric mental health</a:t>
            </a:r>
          </a:p>
          <a:p>
            <a:pPr marL="457200" lvl="0" indent="-457200">
              <a:buFont typeface="+mj-lt"/>
              <a:buAutoNum type="arabicPeriod"/>
            </a:pPr>
            <a:r>
              <a:rPr lang="en-US" b="0"/>
              <a:t>Chronic disease, with a focus on cancer, heart disease, and diabetes </a:t>
            </a:r>
          </a:p>
          <a:p>
            <a:pPr marL="457200" indent="-457200">
              <a:buFont typeface="+mj-lt"/>
              <a:buAutoNum type="arabicPeriod"/>
            </a:pPr>
            <a:r>
              <a:rPr lang="en-US" b="0"/>
              <a:t>Housing stability/homelessness</a:t>
            </a:r>
          </a:p>
          <a:p>
            <a:pPr marL="457200" lvl="0" indent="-457200">
              <a:buFont typeface="+mj-lt"/>
              <a:buAutoNum type="arabicPeriod"/>
            </a:pPr>
            <a:r>
              <a:rPr lang="en-US" b="0"/>
              <a:t>Community tenure</a:t>
            </a:r>
          </a:p>
          <a:p>
            <a:pPr marL="457200" lvl="0" indent="-457200">
              <a:buFont typeface="+mj-lt"/>
              <a:buAutoNum type="arabicPeriod"/>
            </a:pPr>
            <a:r>
              <a:rPr lang="en-US"/>
              <a:t>Health equity</a:t>
            </a:r>
          </a:p>
          <a:p>
            <a:pPr marL="0" lvl="0" indent="0">
              <a:buNone/>
            </a:pPr>
            <a:endParaRPr lang="en-US" sz="2200" b="0"/>
          </a:p>
          <a:p>
            <a:endParaRPr lang="en-US"/>
          </a:p>
        </p:txBody>
      </p:sp>
    </p:spTree>
    <p:extLst>
      <p:ext uri="{BB962C8B-B14F-4D97-AF65-F5344CB8AC3E}">
        <p14:creationId xmlns:p14="http://schemas.microsoft.com/office/powerpoint/2010/main" val="3830109214"/>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AA6FB-E19D-4112-8C5B-2F069C7E9193}"/>
              </a:ext>
            </a:extLst>
          </p:cNvPr>
          <p:cNvSpPr>
            <a:spLocks noGrp="1"/>
          </p:cNvSpPr>
          <p:nvPr>
            <p:ph type="title"/>
          </p:nvPr>
        </p:nvSpPr>
        <p:spPr/>
        <p:txBody>
          <a:bodyPr/>
          <a:lstStyle/>
          <a:p>
            <a:r>
              <a:rPr lang="en-US"/>
              <a:t>Follow-up Items from Last Meeting</a:t>
            </a:r>
          </a:p>
        </p:txBody>
      </p:sp>
      <p:sp>
        <p:nvSpPr>
          <p:cNvPr id="3" name="Content Placeholder 2">
            <a:extLst>
              <a:ext uri="{FF2B5EF4-FFF2-40B4-BE49-F238E27FC236}">
                <a16:creationId xmlns:a16="http://schemas.microsoft.com/office/drawing/2014/main" id="{D4A8534B-B70C-4A4F-900E-3C9058F5AD18}"/>
              </a:ext>
            </a:extLst>
          </p:cNvPr>
          <p:cNvSpPr>
            <a:spLocks noGrp="1"/>
          </p:cNvSpPr>
          <p:nvPr>
            <p:ph sz="half" idx="1"/>
          </p:nvPr>
        </p:nvSpPr>
        <p:spPr>
          <a:xfrm>
            <a:off x="308316" y="1026941"/>
            <a:ext cx="8638735" cy="4804117"/>
          </a:xfrm>
        </p:spPr>
        <p:txBody>
          <a:bodyPr/>
          <a:lstStyle/>
          <a:p>
            <a:r>
              <a:rPr lang="en-US" sz="1900" b="0"/>
              <a:t>Due to the December meeting cancelation, we have been able to gather health inequity information needed to review the existing measures within the Aligned Measure Set.</a:t>
            </a:r>
          </a:p>
          <a:p>
            <a:r>
              <a:rPr lang="en-US" sz="1900" b="0"/>
              <a:t>Therefore, we will pause our consideration of new measures for the time being.  After reviewing the existing measures, we will return to the follow-up items from November:</a:t>
            </a:r>
          </a:p>
          <a:p>
            <a:pPr marL="815975" lvl="2" indent="-457200">
              <a:buFont typeface="+mj-lt"/>
              <a:buAutoNum type="arabicPeriod"/>
            </a:pPr>
            <a:r>
              <a:rPr lang="en-US" sz="1900" b="0">
                <a:latin typeface="Book Antiqua" panose="02040602050305030304" pitchFamily="18" charset="0"/>
                <a:cs typeface="Times New Roman" panose="02020603050405020304" pitchFamily="18" charset="0"/>
              </a:rPr>
              <a:t>Assessment of opportunity to more consistently define and collect RELD data across EOHHS agencies and programs.</a:t>
            </a:r>
          </a:p>
          <a:p>
            <a:pPr marL="815975" lvl="2" indent="-457200">
              <a:buFont typeface="+mj-lt"/>
              <a:buAutoNum type="arabicPeriod"/>
            </a:pPr>
            <a:r>
              <a:rPr lang="en-US" sz="1900" b="0">
                <a:latin typeface="Book Antiqua" panose="02040602050305030304" pitchFamily="18" charset="0"/>
                <a:cs typeface="Times New Roman" panose="02020603050405020304" pitchFamily="18" charset="0"/>
              </a:rPr>
              <a:t>Approach to engage community members in the health equity review </a:t>
            </a:r>
          </a:p>
          <a:p>
            <a:pPr marL="815975" lvl="2" indent="-457200">
              <a:buFont typeface="+mj-lt"/>
              <a:buAutoNum type="arabicPeriod"/>
            </a:pPr>
            <a:r>
              <a:rPr lang="en-US" sz="1900">
                <a:latin typeface="Book Antiqua" panose="02040602050305030304" pitchFamily="18" charset="0"/>
                <a:cs typeface="Times New Roman" panose="02020603050405020304" pitchFamily="18" charset="0"/>
              </a:rPr>
              <a:t>C</a:t>
            </a:r>
            <a:r>
              <a:rPr lang="en-US" sz="1900" b="0">
                <a:latin typeface="Book Antiqua" panose="02040602050305030304" pitchFamily="18" charset="0"/>
                <a:cs typeface="Times New Roman" panose="02020603050405020304" pitchFamily="18" charset="0"/>
              </a:rPr>
              <a:t>onsideration of new candidate substance use disorder measures</a:t>
            </a:r>
          </a:p>
          <a:p>
            <a:pPr marL="990600" lvl="3" indent="-457200"/>
            <a:r>
              <a:rPr lang="en-US" sz="1900" b="0">
                <a:latin typeface="Book Antiqua" panose="02040602050305030304" pitchFamily="18" charset="0"/>
                <a:cs typeface="Times New Roman" panose="02020603050405020304" pitchFamily="18" charset="0"/>
              </a:rPr>
              <a:t>In November, Taskforce members recommended creating a work group of subject matter experts on this topic.</a:t>
            </a:r>
          </a:p>
          <a:p>
            <a:pPr marL="990600" lvl="3" indent="-457200"/>
            <a:r>
              <a:rPr lang="en-US" sz="1900" b="0">
                <a:latin typeface="Book Antiqua" panose="02040602050305030304" pitchFamily="18" charset="0"/>
                <a:cs typeface="Times New Roman" panose="02020603050405020304" pitchFamily="18" charset="0"/>
              </a:rPr>
              <a:t>Please identify subject matter experts from your organizations who may be willing to participate and email Justine (</a:t>
            </a:r>
            <a:r>
              <a:rPr lang="en-US" sz="1900" b="0">
                <a:solidFill>
                  <a:srgbClr val="002060"/>
                </a:solidFill>
                <a:latin typeface="Book Antiqua" panose="0204060205030503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jzayhowski@bailit-health.com</a:t>
            </a:r>
            <a:r>
              <a:rPr lang="en-US" sz="1900" b="0">
                <a:latin typeface="Book Antiqua" panose="02040602050305030304" pitchFamily="18" charset="0"/>
                <a:cs typeface="Times New Roman" panose="02020603050405020304" pitchFamily="18" charset="0"/>
              </a:rPr>
              <a:t>) by 1/29.</a:t>
            </a:r>
          </a:p>
          <a:p>
            <a:pPr marL="815975" lvl="2" indent="-457200">
              <a:buFont typeface="+mj-lt"/>
              <a:buAutoNum type="arabicPeriod"/>
            </a:pPr>
            <a:r>
              <a:rPr lang="en-US" sz="1900" b="0">
                <a:latin typeface="Book Antiqua" panose="02040602050305030304" pitchFamily="18" charset="0"/>
                <a:cs typeface="Times New Roman" panose="02020603050405020304" pitchFamily="18" charset="0"/>
              </a:rPr>
              <a:t>Review of candidate social determinant of health screening measures</a:t>
            </a:r>
          </a:p>
          <a:p>
            <a:endParaRPr lang="en-US"/>
          </a:p>
        </p:txBody>
      </p:sp>
    </p:spTree>
    <p:extLst>
      <p:ext uri="{BB962C8B-B14F-4D97-AF65-F5344CB8AC3E}">
        <p14:creationId xmlns:p14="http://schemas.microsoft.com/office/powerpoint/2010/main" val="2718904717"/>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6876E-8192-461A-8CD4-FB7430E5A0B3}"/>
              </a:ext>
            </a:extLst>
          </p:cNvPr>
          <p:cNvSpPr>
            <a:spLocks noGrp="1"/>
          </p:cNvSpPr>
          <p:nvPr>
            <p:ph type="title"/>
          </p:nvPr>
        </p:nvSpPr>
        <p:spPr/>
        <p:txBody>
          <a:bodyPr/>
          <a:lstStyle/>
          <a:p>
            <a:r>
              <a:rPr lang="en-US"/>
              <a:t>Process for Culling</a:t>
            </a:r>
          </a:p>
        </p:txBody>
      </p:sp>
      <p:sp>
        <p:nvSpPr>
          <p:cNvPr id="3" name="Content Placeholder 2">
            <a:extLst>
              <a:ext uri="{FF2B5EF4-FFF2-40B4-BE49-F238E27FC236}">
                <a16:creationId xmlns:a16="http://schemas.microsoft.com/office/drawing/2014/main" id="{FE24C366-1DA0-45BF-A80F-D4B7E53E9175}"/>
              </a:ext>
            </a:extLst>
          </p:cNvPr>
          <p:cNvSpPr>
            <a:spLocks noGrp="1"/>
          </p:cNvSpPr>
          <p:nvPr>
            <p:ph sz="half" idx="1"/>
          </p:nvPr>
        </p:nvSpPr>
        <p:spPr/>
        <p:txBody>
          <a:bodyPr/>
          <a:lstStyle/>
          <a:p>
            <a:r>
              <a:rPr lang="en-US" b="0"/>
              <a:t>During the November 18</a:t>
            </a:r>
            <a:r>
              <a:rPr lang="en-US" b="0" baseline="30000"/>
              <a:t>th</a:t>
            </a:r>
            <a:r>
              <a:rPr lang="en-US" b="0"/>
              <a:t> Taskforce meeting, Taskforce members recommended incorporating a routine culling process into the annual review.</a:t>
            </a:r>
          </a:p>
          <a:p>
            <a:r>
              <a:rPr lang="en-US" b="0"/>
              <a:t>Through its measure selection criteria, the Taskforce elected to limit measures in the Core Set by setting a principle that the Core Set should not be more than five in number.</a:t>
            </a:r>
          </a:p>
          <a:p>
            <a:pPr>
              <a:spcAft>
                <a:spcPts val="600"/>
              </a:spcAft>
            </a:pPr>
            <a:r>
              <a:rPr lang="en-US" b="0"/>
              <a:t>There is no parallel requirement for the Menu Set, which currently includes 21 measures, across seven domains</a:t>
            </a:r>
          </a:p>
          <a:p>
            <a:pPr lvl="1"/>
            <a:r>
              <a:rPr lang="en-US" sz="1800" b="0"/>
              <a:t>The largest of these domains is “Prevention/ Early Detection - Physical Health” with seven measures.</a:t>
            </a:r>
          </a:p>
          <a:p>
            <a:r>
              <a:rPr lang="en-US"/>
              <a:t>Does the Taskforce recommend establishing parameters for either the total or maximum number of measures: 1) in the Menu Set 2) in the Menu Set by domain?</a:t>
            </a:r>
          </a:p>
        </p:txBody>
      </p:sp>
    </p:spTree>
    <p:extLst>
      <p:ext uri="{BB962C8B-B14F-4D97-AF65-F5344CB8AC3E}">
        <p14:creationId xmlns:p14="http://schemas.microsoft.com/office/powerpoint/2010/main" val="185947143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C5262-6267-4580-8D0B-C0D204E11121}"/>
              </a:ext>
            </a:extLst>
          </p:cNvPr>
          <p:cNvSpPr>
            <a:spLocks noGrp="1"/>
          </p:cNvSpPr>
          <p:nvPr>
            <p:ph type="title"/>
          </p:nvPr>
        </p:nvSpPr>
        <p:spPr/>
        <p:txBody>
          <a:bodyPr/>
          <a:lstStyle/>
          <a:p>
            <a:r>
              <a:rPr lang="en-US"/>
              <a:t>Quality Measure Catalogue: Background</a:t>
            </a:r>
          </a:p>
        </p:txBody>
      </p:sp>
      <p:sp>
        <p:nvSpPr>
          <p:cNvPr id="3" name="Content Placeholder 2">
            <a:extLst>
              <a:ext uri="{FF2B5EF4-FFF2-40B4-BE49-F238E27FC236}">
                <a16:creationId xmlns:a16="http://schemas.microsoft.com/office/drawing/2014/main" id="{1BB73685-6A28-40B8-8B66-E7647876478F}"/>
              </a:ext>
            </a:extLst>
          </p:cNvPr>
          <p:cNvSpPr>
            <a:spLocks noGrp="1"/>
          </p:cNvSpPr>
          <p:nvPr>
            <p:ph sz="half" idx="1"/>
          </p:nvPr>
        </p:nvSpPr>
        <p:spPr>
          <a:xfrm>
            <a:off x="533400" y="1371599"/>
            <a:ext cx="8077200" cy="4702629"/>
          </a:xfrm>
        </p:spPr>
        <p:txBody>
          <a:bodyPr/>
          <a:lstStyle/>
          <a:p>
            <a:r>
              <a:rPr lang="en-US" b="0"/>
              <a:t>The purpose of the Quality Measure Catalogue is to capture the measures in use by payers in Massachusetts for the purposes of:</a:t>
            </a:r>
          </a:p>
          <a:p>
            <a:pPr lvl="1"/>
            <a:r>
              <a:rPr lang="en-US" b="0"/>
              <a:t>global budget-based risk contracts</a:t>
            </a:r>
          </a:p>
          <a:p>
            <a:pPr lvl="1"/>
            <a:r>
              <a:rPr lang="en-US" b="0" err="1"/>
              <a:t>tiering</a:t>
            </a:r>
            <a:r>
              <a:rPr lang="en-US" b="0"/>
              <a:t> or limited network product methodology</a:t>
            </a:r>
          </a:p>
          <a:p>
            <a:pPr lvl="1"/>
            <a:r>
              <a:rPr lang="en-US" b="0"/>
              <a:t>consumer transparency</a:t>
            </a:r>
          </a:p>
          <a:p>
            <a:pPr lvl="1"/>
            <a:endParaRPr lang="en-US" b="0"/>
          </a:p>
          <a:p>
            <a:r>
              <a:rPr lang="en-US" b="0"/>
              <a:t>CHIA and the HPC have been collecting these data since 2013.</a:t>
            </a:r>
          </a:p>
        </p:txBody>
      </p:sp>
    </p:spTree>
    <p:extLst>
      <p:ext uri="{BB962C8B-B14F-4D97-AF65-F5344CB8AC3E}">
        <p14:creationId xmlns:p14="http://schemas.microsoft.com/office/powerpoint/2010/main" val="256890144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EOHH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3F9B95F2EE52B4E9FB130DEE3F78C09" ma:contentTypeVersion="6" ma:contentTypeDescription="Create a new document." ma:contentTypeScope="" ma:versionID="ca0602ea54f9c51bfa1c05d1f8c9206a">
  <xsd:schema xmlns:xsd="http://www.w3.org/2001/XMLSchema" xmlns:xs="http://www.w3.org/2001/XMLSchema" xmlns:p="http://schemas.microsoft.com/office/2006/metadata/properties" xmlns:ns2="d29a8555-db37-4257-91ea-e6d336cdedf2" xmlns:ns3="34dc536f-1af3-405a-935d-0fb3b6674883" targetNamespace="http://schemas.microsoft.com/office/2006/metadata/properties" ma:root="true" ma:fieldsID="dc67b3305e56f01fc9e637268d932d2d" ns2:_="" ns3:_="">
    <xsd:import namespace="d29a8555-db37-4257-91ea-e6d336cdedf2"/>
    <xsd:import namespace="34dc536f-1af3-405a-935d-0fb3b667488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9a8555-db37-4257-91ea-e6d336cdedf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4dc536f-1af3-405a-935d-0fb3b6674883"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d29a8555-db37-4257-91ea-e6d336cdedf2">
      <UserInfo>
        <DisplayName>Michael Bailit</DisplayName>
        <AccountId>22</AccountId>
        <AccountType/>
      </UserInfo>
      <UserInfo>
        <DisplayName>Deepti Kanneganti</DisplayName>
        <AccountId>15</AccountId>
        <AccountType/>
      </UserInfo>
      <UserInfo>
        <DisplayName>Justine Zayhowski</DisplayName>
        <AccountId>2633</AccountId>
        <AccountType/>
      </UserInfo>
      <UserInfo>
        <DisplayName>Lisa.Ahlgren@state.ma.us</DisplayName>
        <AccountId>3175</AccountId>
        <AccountType/>
      </UserInfo>
      <UserInfo>
        <DisplayName>Jennifer Sayles</DisplayName>
        <AccountId>4142</AccountId>
        <AccountType/>
      </UserInfo>
      <UserInfo>
        <DisplayName>Mary Beth Dyer</DisplayName>
        <AccountId>20</AccountId>
        <AccountType/>
      </UserInfo>
      <UserInfo>
        <DisplayName>Beth Waldman</DisplayName>
        <AccountId>37</AccountId>
        <AccountType/>
      </UserInfo>
    </SharedWithUsers>
  </documentManagement>
</p:properties>
</file>

<file path=customXml/itemProps1.xml><?xml version="1.0" encoding="utf-8"?>
<ds:datastoreItem xmlns:ds="http://schemas.openxmlformats.org/officeDocument/2006/customXml" ds:itemID="{7462C3C6-3E64-4F66-8292-8DAEACA6EE62}">
  <ds:schemaRefs>
    <ds:schemaRef ds:uri="http://schemas.microsoft.com/sharepoint/v3/contenttype/forms"/>
  </ds:schemaRefs>
</ds:datastoreItem>
</file>

<file path=customXml/itemProps2.xml><?xml version="1.0" encoding="utf-8"?>
<ds:datastoreItem xmlns:ds="http://schemas.openxmlformats.org/officeDocument/2006/customXml" ds:itemID="{C12E6B4B-7B64-44F9-9DAF-23A5E8422624}">
  <ds:schemaRefs>
    <ds:schemaRef ds:uri="34dc536f-1af3-405a-935d-0fb3b6674883"/>
    <ds:schemaRef ds:uri="d29a8555-db37-4257-91ea-e6d336cdedf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3D51BB9-DEB6-4460-8125-E187CA6439EC}">
  <ds:schemaRefs>
    <ds:schemaRef ds:uri="34dc536f-1af3-405a-935d-0fb3b6674883"/>
    <ds:schemaRef ds:uri="d29a8555-db37-4257-91ea-e6d336cdedf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Quality Measurement Taskforce Meeting 19</Template>
  <TotalTime>0</TotalTime>
  <Words>4375</Words>
  <Application>Microsoft Office PowerPoint</Application>
  <PresentationFormat>On-screen Show (4:3)</PresentationFormat>
  <Paragraphs>874</Paragraphs>
  <Slides>31</Slides>
  <Notes>1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0" baseType="lpstr">
      <vt:lpstr>Arial</vt:lpstr>
      <vt:lpstr>Book Antiqua</vt:lpstr>
      <vt:lpstr>Calibri</vt:lpstr>
      <vt:lpstr>Symbol</vt:lpstr>
      <vt:lpstr>Wingdings</vt:lpstr>
      <vt:lpstr>Wingdings 2</vt:lpstr>
      <vt:lpstr>EOHHS</vt:lpstr>
      <vt:lpstr>SRM_CF_DG1140</vt:lpstr>
      <vt:lpstr>think-cell Slide</vt:lpstr>
      <vt:lpstr>PowerPoint Presentation</vt:lpstr>
      <vt:lpstr>Agenda</vt:lpstr>
      <vt:lpstr>Agenda</vt:lpstr>
      <vt:lpstr>Annual Review Process – Revised to Review Existing Measures Before New Measures and Cull the Set</vt:lpstr>
      <vt:lpstr>Timeline for Annual Review</vt:lpstr>
      <vt:lpstr>Reminder: State Health Priorities</vt:lpstr>
      <vt:lpstr>Follow-up Items from Last Meeting</vt:lpstr>
      <vt:lpstr>Process for Culling</vt:lpstr>
      <vt:lpstr>Quality Measure Catalogue: Background</vt:lpstr>
      <vt:lpstr>Quality Measure Catalogue: Background</vt:lpstr>
      <vt:lpstr>Quality Measure Catalogue: Questions</vt:lpstr>
      <vt:lpstr>Overview of quality measures in use in any contract by MA commercial payers</vt:lpstr>
      <vt:lpstr>Overview of quality measures in use in at least 10 contracts by MA commercial payers</vt:lpstr>
      <vt:lpstr>Plans Use of 2021 Core and Menu Measures in Any Contract</vt:lpstr>
      <vt:lpstr>Plans Use of 2021 Core and Menu Measures in Any Contract </vt:lpstr>
      <vt:lpstr>Plans report continued use of non-endorsed quality measures and developmental/monitoring measures in contracts</vt:lpstr>
      <vt:lpstr>Impact of COVID-19 on Quality Measurement in MA Global Budget-Based Risk Contracts</vt:lpstr>
      <vt:lpstr>Impact of COVID-19 on Quality Measurement in MA Global Budget-Based Risk Contracts (Cont.)</vt:lpstr>
      <vt:lpstr>Review of Existing Measures</vt:lpstr>
      <vt:lpstr>Sources for “Opportunities to Promote Health Equity”</vt:lpstr>
      <vt:lpstr>Sources for “Opportunities to Promote Health Equity”</vt:lpstr>
      <vt:lpstr>Sources for Other Considerations</vt:lpstr>
      <vt:lpstr>Sources for Other Considerations</vt:lpstr>
      <vt:lpstr>CG-CAHPS (MHQP Version) (Core)</vt:lpstr>
      <vt:lpstr>Comprehensive Diabetes Care: Hemoglobin A1c (HbA1c) Poor Control (&gt;9.0%) (Core)</vt:lpstr>
      <vt:lpstr>Controlling High Blood Pressure (Core)</vt:lpstr>
      <vt:lpstr>Screening for Clinical Depression and Follow-Up Plan (Core)</vt:lpstr>
      <vt:lpstr>Asthma Medication Ratio (Menu)</vt:lpstr>
      <vt:lpstr>Breast Cancer Screening (Menu)</vt:lpstr>
      <vt:lpstr>Agenda</vt:lpstr>
      <vt:lpstr>Next Steps and Meeting 42</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epti Kanneganti</dc:creator>
  <cp:lastModifiedBy>Justine Zayhowski</cp:lastModifiedBy>
  <cp:revision>1</cp:revision>
  <cp:lastPrinted>2020-01-22T12:56:50Z</cp:lastPrinted>
  <dcterms:created xsi:type="dcterms:W3CDTF">2018-07-16T19:03:48Z</dcterms:created>
  <dcterms:modified xsi:type="dcterms:W3CDTF">2021-01-28T14:2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F9B95F2EE52B4E9FB130DEE3F78C09</vt:lpwstr>
  </property>
</Properties>
</file>